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.xml" ContentType="application/vnd.openxmlformats-officedocument.presentationml.notesSlide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3"/>
  </p:notesMasterIdLst>
  <p:handoutMasterIdLst>
    <p:handoutMasterId r:id="rId44"/>
  </p:handoutMasterIdLst>
  <p:sldIdLst>
    <p:sldId id="411" r:id="rId2"/>
    <p:sldId id="467" r:id="rId3"/>
    <p:sldId id="471" r:id="rId4"/>
    <p:sldId id="472" r:id="rId5"/>
    <p:sldId id="498" r:id="rId6"/>
    <p:sldId id="473" r:id="rId7"/>
    <p:sldId id="474" r:id="rId8"/>
    <p:sldId id="475" r:id="rId9"/>
    <p:sldId id="476" r:id="rId10"/>
    <p:sldId id="477" r:id="rId11"/>
    <p:sldId id="478" r:id="rId12"/>
    <p:sldId id="479" r:id="rId13"/>
    <p:sldId id="429" r:id="rId14"/>
    <p:sldId id="424" r:id="rId15"/>
    <p:sldId id="425" r:id="rId16"/>
    <p:sldId id="426" r:id="rId17"/>
    <p:sldId id="427" r:id="rId18"/>
    <p:sldId id="431" r:id="rId19"/>
    <p:sldId id="432" r:id="rId20"/>
    <p:sldId id="433" r:id="rId21"/>
    <p:sldId id="436" r:id="rId22"/>
    <p:sldId id="439" r:id="rId23"/>
    <p:sldId id="497" r:id="rId24"/>
    <p:sldId id="462" r:id="rId25"/>
    <p:sldId id="490" r:id="rId26"/>
    <p:sldId id="495" r:id="rId27"/>
    <p:sldId id="492" r:id="rId28"/>
    <p:sldId id="493" r:id="rId29"/>
    <p:sldId id="494" r:id="rId30"/>
    <p:sldId id="469" r:id="rId31"/>
    <p:sldId id="446" r:id="rId32"/>
    <p:sldId id="447" r:id="rId33"/>
    <p:sldId id="455" r:id="rId34"/>
    <p:sldId id="449" r:id="rId35"/>
    <p:sldId id="451" r:id="rId36"/>
    <p:sldId id="452" r:id="rId37"/>
    <p:sldId id="454" r:id="rId38"/>
    <p:sldId id="486" r:id="rId39"/>
    <p:sldId id="488" r:id="rId40"/>
    <p:sldId id="489" r:id="rId41"/>
    <p:sldId id="470" r:id="rId42"/>
  </p:sldIdLst>
  <p:sldSz cx="12192000" cy="6858000"/>
  <p:notesSz cx="6858000" cy="9144000"/>
  <p:custDataLst>
    <p:tags r:id="rId4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3" pos="370" userDrawn="1">
          <p15:clr>
            <a:srgbClr val="A4A3A4"/>
          </p15:clr>
        </p15:guide>
        <p15:guide id="4" pos="7310" userDrawn="1">
          <p15:clr>
            <a:srgbClr val="A4A3A4"/>
          </p15:clr>
        </p15:guide>
        <p15:guide id="8" orient="horz" pos="799" userDrawn="1">
          <p15:clr>
            <a:srgbClr val="A4A3A4"/>
          </p15:clr>
        </p15:guide>
        <p15:guide id="9" orient="horz" pos="1117" userDrawn="1">
          <p15:clr>
            <a:srgbClr val="A4A3A4"/>
          </p15:clr>
        </p15:guide>
        <p15:guide id="10" orient="horz" pos="3793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B2C3E5"/>
    <a:srgbClr val="A14D6F"/>
    <a:srgbClr val="743850"/>
    <a:srgbClr val="E0E1E3"/>
    <a:srgbClr val="0033A0"/>
    <a:srgbClr val="FFFFFF"/>
    <a:srgbClr val="667FA4"/>
    <a:srgbClr val="24388D"/>
    <a:srgbClr val="BF0D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9213" autoAdjust="0"/>
    <p:restoredTop sz="98458" autoAdjust="0"/>
  </p:normalViewPr>
  <p:slideViewPr>
    <p:cSldViewPr snapToGrid="0" showGuides="1">
      <p:cViewPr>
        <p:scale>
          <a:sx n="110" d="100"/>
          <a:sy n="110" d="100"/>
        </p:scale>
        <p:origin x="-308" y="-156"/>
      </p:cViewPr>
      <p:guideLst>
        <p:guide orient="horz" pos="799"/>
        <p:guide orient="horz" pos="1117"/>
        <p:guide orient="horz" pos="3793"/>
        <p:guide pos="37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 snapToGrid="0" showGuides="1">
      <p:cViewPr varScale="1">
        <p:scale>
          <a:sx n="93" d="100"/>
          <a:sy n="93" d="100"/>
        </p:scale>
        <p:origin x="402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60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BE48207B-10BA-4651-A008-7F6E82CA57BE}"/>
              </a:ext>
            </a:extLst>
          </p:cNvPr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b="1" cap="all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E217837-B8AA-4624-A7BC-5290FA292952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44D787-700C-4B3A-9CE4-1FC92B1D36F8}" type="datetimeFigureOut">
              <a:rPr lang="en-GB" sz="800" smtClean="0"/>
              <a:t>29/04/2020</a:t>
            </a:fld>
            <a:endParaRPr lang="en-GB" sz="8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92FFFFEE-4441-47B5-88C8-6FCA37B1BFC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sz="8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10DE31CC-D9D7-403D-A47C-E2F828544E7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1BBC10-B19A-4514-862E-33BA46CBA6AB}" type="slidenum">
              <a:rPr lang="en-GB" sz="800" smtClean="0"/>
              <a:t>‹#›</a:t>
            </a:fld>
            <a:endParaRPr lang="en-GB" sz="8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795535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 b="1" cap="all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fld id="{161E9D8E-F1EA-4E43-A1BF-25421F3C0796}" type="datetimeFigureOut">
              <a:rPr lang="en-US" smtClean="0"/>
              <a:pPr/>
              <a:t>4/29/20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8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E824C8A9-0AC1-45FB-B45F-324976151CA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472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400" rtl="0" eaLnBrk="1" latinLnBrk="0" hangingPunct="1">
      <a:spcAft>
        <a:spcPts val="600"/>
      </a:spcAft>
      <a:buClr>
        <a:schemeClr val="tx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400" rtl="0" eaLnBrk="1" latinLnBrk="0" hangingPunct="1">
      <a:spcAft>
        <a:spcPts val="600"/>
      </a:spcAft>
      <a:buClr>
        <a:schemeClr val="tx2"/>
      </a:buClr>
      <a:buFont typeface="Verdana" panose="020B060403050404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400" rtl="0" eaLnBrk="1" latinLnBrk="0" hangingPunct="1">
      <a:spcAft>
        <a:spcPts val="600"/>
      </a:spcAft>
      <a:buClr>
        <a:schemeClr val="tx2"/>
      </a:buClr>
      <a:buFont typeface="Verdana" panose="020B060403050404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400" rtl="0" eaLnBrk="1" latinLnBrk="0" hangingPunct="1">
      <a:spcAft>
        <a:spcPts val="600"/>
      </a:spcAft>
      <a:buClr>
        <a:schemeClr val="tx2"/>
      </a:buClr>
      <a:buFont typeface="Verdana" panose="020B060403050404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895350" indent="-177800" algn="l" defTabSz="914400" rtl="0" eaLnBrk="1" latinLnBrk="0" hangingPunct="1">
      <a:spcAft>
        <a:spcPts val="600"/>
      </a:spcAft>
      <a:buClr>
        <a:schemeClr val="tx2"/>
      </a:buClr>
      <a:buFont typeface="Verdana" panose="020B060403050404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1079500" indent="-184150" algn="l" defTabSz="914400" rtl="0" eaLnBrk="1" latinLnBrk="0" hangingPunct="1">
      <a:spcAft>
        <a:spcPts val="600"/>
      </a:spcAft>
      <a:buClr>
        <a:schemeClr val="tx2"/>
      </a:buClr>
      <a:buFont typeface="Verdana" panose="020B060403050404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1257300" indent="-177800" algn="l" defTabSz="914400" rtl="0" eaLnBrk="1" latinLnBrk="0" hangingPunct="1">
      <a:spcAft>
        <a:spcPts val="600"/>
      </a:spcAft>
      <a:buClr>
        <a:schemeClr val="tx2"/>
      </a:buClr>
      <a:buFont typeface="Verdana" panose="020B060403050404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1435100" indent="-177800" algn="l" defTabSz="914400" rtl="0" eaLnBrk="1" latinLnBrk="0" hangingPunct="1">
      <a:spcAft>
        <a:spcPts val="600"/>
      </a:spcAft>
      <a:buClr>
        <a:schemeClr val="tx2"/>
      </a:buClr>
      <a:buFont typeface="Verdana" panose="020B060403050404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87242">
              <a:defRPr/>
            </a:pPr>
            <a:fld id="{E824C8A9-0AC1-45FB-B45F-324976151CA2}" type="slidenum">
              <a:rPr lang="en-US" sz="1200">
                <a:solidFill>
                  <a:prstClr val="black"/>
                </a:solidFill>
                <a:latin typeface="Calibri" panose="020F0502020204030204"/>
              </a:rPr>
              <a:pPr defTabSz="887242">
                <a:defRPr/>
              </a:pPr>
              <a:t>7</a:t>
            </a:fld>
            <a:endParaRPr lang="en-US" sz="12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124101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24C8A9-0AC1-45FB-B45F-324976151CA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4860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Лечение пациентов на диализе</a:t>
            </a:r>
          </a:p>
          <a:p>
            <a:r>
              <a:rPr lang="ru-RU" dirty="0" smtClean="0"/>
              <a:t>Инфекция </a:t>
            </a:r>
            <a:r>
              <a:rPr lang="en-US" dirty="0" smtClean="0"/>
              <a:t>COVID-</a:t>
            </a:r>
            <a:r>
              <a:rPr lang="ru-RU" dirty="0" smtClean="0"/>
              <a:t>19 является</a:t>
            </a:r>
            <a:r>
              <a:rPr lang="ru-RU" baseline="0" dirty="0" smtClean="0"/>
              <a:t> серьезным вызовом для пациентов на диализе, особенно для тех кто получает диализ в центре. Пациенты с уремией особенно уязвимы к инфекциям и могут демонстрировать широкий спектр как клинических симптомов так и </a:t>
            </a:r>
            <a:r>
              <a:rPr lang="ru-RU" baseline="0" dirty="0" err="1" smtClean="0"/>
              <a:t>инфекционности</a:t>
            </a:r>
            <a:r>
              <a:rPr lang="ru-RU" baseline="0" dirty="0" smtClean="0"/>
              <a:t>. Проведение гемодиализа в центре значительно повышает риск передачи инфекции как медицинскому персоналу и всем сотрудникам центра диализа, так и членам семьи пациента и другим людям. </a:t>
            </a:r>
          </a:p>
          <a:p>
            <a:r>
              <a:rPr lang="ru-RU" baseline="0" dirty="0" smtClean="0"/>
              <a:t>Китайское </a:t>
            </a:r>
            <a:r>
              <a:rPr lang="ru-RU" baseline="0" dirty="0" err="1" smtClean="0"/>
              <a:t>Нефрологическое</a:t>
            </a:r>
            <a:r>
              <a:rPr lang="ru-RU" baseline="0" dirty="0" smtClean="0"/>
              <a:t> Общество и Тайваньское </a:t>
            </a:r>
            <a:r>
              <a:rPr lang="ru-RU" baseline="0" dirty="0" err="1" smtClean="0"/>
              <a:t>Нефрологическое</a:t>
            </a:r>
            <a:r>
              <a:rPr lang="ru-RU" baseline="0" dirty="0" smtClean="0"/>
              <a:t> Общество разработали недавно руководство для диализных отделений во время вспышки </a:t>
            </a:r>
            <a:r>
              <a:rPr lang="en-US" baseline="0" dirty="0" smtClean="0"/>
              <a:t>COVID-19</a:t>
            </a:r>
            <a:r>
              <a:rPr lang="ru-RU" baseline="0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24C8A9-0AC1-45FB-B45F-324976151CA2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86960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Резюме этих рекомендаций приведены ниже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Рабочая группа, состоящая из диализных врачей, медицинского персонала и технических специалистов должна пройти обучение для обновления клинических знаний об эпидемии  </a:t>
            </a:r>
            <a:r>
              <a:rPr lang="en-US" dirty="0" smtClean="0"/>
              <a:t>COVID-</a:t>
            </a:r>
            <a:r>
              <a:rPr lang="ru-RU" dirty="0" smtClean="0"/>
              <a:t>19, для</a:t>
            </a:r>
            <a:r>
              <a:rPr lang="ru-RU" baseline="0" dirty="0" smtClean="0"/>
              <a:t> осве</a:t>
            </a:r>
            <a:r>
              <a:rPr lang="ru-RU" dirty="0" smtClean="0"/>
              <a:t>домления об опасности заражения,  о профилактических противоэпидемических мерах и рекомендациях  правительства, академических сообществ и руководства больницы. Должен</a:t>
            </a:r>
            <a:r>
              <a:rPr lang="ru-RU" baseline="0" dirty="0" smtClean="0"/>
              <a:t> быть создан или уточнен с</a:t>
            </a:r>
            <a:r>
              <a:rPr lang="ru-RU" dirty="0" smtClean="0"/>
              <a:t>писок персонала который</a:t>
            </a:r>
            <a:r>
              <a:rPr lang="ru-RU" baseline="0" dirty="0" smtClean="0"/>
              <a:t> должен </a:t>
            </a:r>
            <a:r>
              <a:rPr lang="ru-RU" dirty="0" smtClean="0"/>
              <a:t>храниться в центре диализа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нформация о путешествиях, занятиях, контактах и группах в которых участвуют сотрудники (TOCC) истории медицинского персонала, пациентов, членов</a:t>
            </a:r>
            <a:r>
              <a:rPr lang="ru-RU" baseline="0" dirty="0" smtClean="0"/>
              <a:t> их</a:t>
            </a:r>
            <a:r>
              <a:rPr lang="ru-RU" dirty="0" smtClean="0"/>
              <a:t> семей, работников того же учреждения и коллег по работе должны быть собраны и обновляться регулярно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оследние рекомендации по уходу и информация об эпидемии должна обновляться и доставляться всему медицинскому персоналу по мере необходимости. Тренировки и обучающие занятия могут проводится индивидуально или онлайн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24C8A9-0AC1-45FB-B45F-324976151CA2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503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Групповые мероприятия, в том числе групповые обходы, групповые осмотры и исследования, тематические дискуссии, должны быть сведены к минимуму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Рекомендуется, чтобы сотрудники ели в разное время, чтобы избежать контактов при приеме пищи. Очки, маски и головные уборы следует снимать перед едой, а руки мыть проточной водой. Разговоры во время еды должен быть минимизированы, чтобы препятствовать воздушно-капельному пути передачи инфекции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Сотрудники должны самостоятельно контролировать свои симптомы и должны сообщить руководителю группы, если у них или членов их семьи развились симптом(ы), наводящие на мысль о COVID-19 инфекци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24C8A9-0AC1-45FB-B45F-324976151CA2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5910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се пациенты с лихорадкой должны быть проверены на наличие новой </a:t>
            </a:r>
            <a:r>
              <a:rPr lang="ru-RU" dirty="0" err="1" smtClean="0"/>
              <a:t>коронавирусной</a:t>
            </a:r>
            <a:r>
              <a:rPr lang="ru-RU" dirty="0" smtClean="0"/>
              <a:t> инфекции и должны получать диализ в последнюю смену дня до тех пор пока заражение не будет исключено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ройдите маршрут пациента</a:t>
            </a:r>
            <a:r>
              <a:rPr lang="ru-RU" baseline="0" dirty="0" smtClean="0"/>
              <a:t> от</a:t>
            </a:r>
            <a:r>
              <a:rPr lang="ru-RU" dirty="0" smtClean="0"/>
              <a:t> входа в больницу и блок диализа: точки посадки  и высадки не должны совпадать с таковыми для обычных диализных пациентов. Одновременного входа и выхода с другими пациентами следует избегать. Маршрут, режим, и время транспортировки диализного персонала должны</a:t>
            </a:r>
            <a:r>
              <a:rPr lang="ru-RU" baseline="0" dirty="0" smtClean="0"/>
              <a:t> </a:t>
            </a:r>
            <a:r>
              <a:rPr lang="ru-RU" dirty="0" smtClean="0"/>
              <a:t> быть продуманы, отлажены и фиксированы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24C8A9-0AC1-45FB-B45F-324976151CA2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43720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перативные стратегии для членов семьи и опекунов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Все члены семьи, живущие с диализными пациентами должны соблюдать все меры предосторожности и правила, данные пациентам для предотвращения передачи COVID-19 от человека к человеку  в семье, которые включают измерение температуры тела, соблюдение всех правил личной гигиены, мытье рук и оперативное сообщение о потенциально больных людях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Пациенты на диализе, у которых есть семья член или лицо, находящийся</a:t>
            </a:r>
            <a:r>
              <a:rPr lang="ru-RU" baseline="0" dirty="0" smtClean="0"/>
              <a:t> в </a:t>
            </a:r>
            <a:r>
              <a:rPr lang="ru-RU" dirty="0" smtClean="0"/>
              <a:t>карантине может получать лечение диализом как обычно в течение 14 дней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После того, как член семьи или опекун пациента на диализе получит</a:t>
            </a:r>
            <a:r>
              <a:rPr lang="ru-RU" baseline="0" dirty="0" smtClean="0"/>
              <a:t> статус</a:t>
            </a:r>
            <a:r>
              <a:rPr lang="ru-RU" dirty="0" smtClean="0"/>
              <a:t> подтвержденного случая</a:t>
            </a:r>
            <a:r>
              <a:rPr lang="ru-RU" baseline="0" dirty="0" smtClean="0"/>
              <a:t> инфекции</a:t>
            </a:r>
            <a:r>
              <a:rPr lang="ru-RU" dirty="0" smtClean="0"/>
              <a:t>, данные пациента должны быть обновлены и обработаны в соответствии с </a:t>
            </a:r>
            <a:r>
              <a:rPr lang="ru-RU" dirty="0" err="1" smtClean="0"/>
              <a:t>с</a:t>
            </a:r>
            <a:r>
              <a:rPr lang="ru-RU" dirty="0" smtClean="0"/>
              <a:t> вышеупомянутыми условиями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Таким образом, COVID-19, болезнь, вызванная новым </a:t>
            </a:r>
            <a:r>
              <a:rPr lang="ru-RU" dirty="0" err="1" smtClean="0"/>
              <a:t>коронавирусом</a:t>
            </a:r>
            <a:r>
              <a:rPr lang="ru-RU" dirty="0" smtClean="0"/>
              <a:t> является основной угрозой</a:t>
            </a:r>
            <a:r>
              <a:rPr lang="ru-RU" baseline="0" dirty="0" smtClean="0"/>
              <a:t> для </a:t>
            </a:r>
            <a:r>
              <a:rPr lang="ru-RU" dirty="0" smtClean="0"/>
              <a:t>человека с возможностью превратиться в пандемию. Похоже, поражение почек часто возникает при этой инфекции, и ОПП является независимым предиктором смертности. Влияние этой инфекции на людей с хронической болезнью почек не была изучена, и лечение пациентов на диализе, которые были подозревался в контакте с COVID-19 следует проводить в соответствии со строгими протоколами </a:t>
            </a:r>
            <a:r>
              <a:rPr lang="ru-RU" dirty="0" err="1" smtClean="0"/>
              <a:t>минимизирующими</a:t>
            </a:r>
            <a:r>
              <a:rPr lang="ru-RU" dirty="0" smtClean="0"/>
              <a:t> риск для других пациентов и медицинского</a:t>
            </a:r>
            <a:r>
              <a:rPr lang="ru-RU" baseline="0" dirty="0" smtClean="0"/>
              <a:t> персонала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24C8A9-0AC1-45FB-B45F-324976151CA2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325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1.emf"/><Relationship Id="rId2" Type="http://schemas.openxmlformats.org/officeDocument/2006/relationships/tags" Target="../tags/tag4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="" xmlns:a16="http://schemas.microsoft.com/office/drawing/2014/main" id="{BE91EA7B-0EBC-4634-9188-783FB75F55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-12418" y="1076220"/>
            <a:ext cx="11905200" cy="5450400"/>
          </a:xfrm>
        </p:spPr>
        <p:txBody>
          <a:bodyPr lIns="0" tIns="72000" rIns="0"/>
          <a:lstStyle>
            <a:lvl1pPr algn="ctr">
              <a:defRPr sz="12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CFD4E85E-F563-4178-9CD5-47932E247C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1253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9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="" xmlns:a16="http://schemas.microsoft.com/office/drawing/2014/main" id="{CFD4E85E-F563-4178-9CD5-47932E247C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D69A6A3C-CE77-4E08-A08C-E9383FF66036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="" xmlns:a16="http://schemas.microsoft.com/office/drawing/2014/main" id="{92EEFF80-3BB2-43FD-9BD7-8D630A5480C3}"/>
              </a:ext>
            </a:extLst>
          </p:cNvPr>
          <p:cNvGrpSpPr/>
          <p:nvPr userDrawn="1"/>
        </p:nvGrpSpPr>
        <p:grpSpPr bwMode="gray">
          <a:xfrm>
            <a:off x="277530" y="326519"/>
            <a:ext cx="2196872" cy="482701"/>
            <a:chOff x="364785" y="474234"/>
            <a:chExt cx="1720030" cy="377928"/>
          </a:xfrm>
          <a:solidFill>
            <a:schemeClr val="tx2"/>
          </a:solidFill>
        </p:grpSpPr>
        <p:sp>
          <p:nvSpPr>
            <p:cNvPr id="10" name="Freihandform: Form 9">
              <a:extLst>
                <a:ext uri="{FF2B5EF4-FFF2-40B4-BE49-F238E27FC236}">
                  <a16:creationId xmlns="" xmlns:a16="http://schemas.microsoft.com/office/drawing/2014/main" id="{E3F7D55D-50D1-4B15-AD6D-C076AE03DF6E}"/>
                </a:ext>
              </a:extLst>
            </p:cNvPr>
            <p:cNvSpPr/>
            <p:nvPr/>
          </p:nvSpPr>
          <p:spPr bwMode="gray">
            <a:xfrm>
              <a:off x="364785" y="474234"/>
              <a:ext cx="479323" cy="129049"/>
            </a:xfrm>
            <a:custGeom>
              <a:avLst/>
              <a:gdLst>
                <a:gd name="connsiteX0" fmla="*/ 241743 w 479322"/>
                <a:gd name="connsiteY0" fmla="*/ 47248 h 129048"/>
                <a:gd name="connsiteX1" fmla="*/ 6690 w 479322"/>
                <a:gd name="connsiteY1" fmla="*/ 6690 h 129048"/>
                <a:gd name="connsiteX2" fmla="*/ 55544 w 479322"/>
                <a:gd name="connsiteY2" fmla="*/ 85963 h 129048"/>
                <a:gd name="connsiteX3" fmla="*/ 241743 w 479322"/>
                <a:gd name="connsiteY3" fmla="*/ 126521 h 129048"/>
                <a:gd name="connsiteX4" fmla="*/ 427019 w 479322"/>
                <a:gd name="connsiteY4" fmla="*/ 85963 h 129048"/>
                <a:gd name="connsiteX5" fmla="*/ 475873 w 479322"/>
                <a:gd name="connsiteY5" fmla="*/ 669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322" h="129048">
                  <a:moveTo>
                    <a:pt x="241743" y="47248"/>
                  </a:moveTo>
                  <a:lnTo>
                    <a:pt x="6690" y="6690"/>
                  </a:lnTo>
                  <a:lnTo>
                    <a:pt x="55544" y="85963"/>
                  </a:lnTo>
                  <a:lnTo>
                    <a:pt x="241743" y="126521"/>
                  </a:lnTo>
                  <a:lnTo>
                    <a:pt x="427019" y="85963"/>
                  </a:lnTo>
                  <a:lnTo>
                    <a:pt x="475873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89875335-B866-4623-8B01-464C9A3116E1}"/>
                </a:ext>
              </a:extLst>
            </p:cNvPr>
            <p:cNvSpPr/>
            <p:nvPr/>
          </p:nvSpPr>
          <p:spPr bwMode="gray">
            <a:xfrm>
              <a:off x="549140" y="759984"/>
              <a:ext cx="110613" cy="92178"/>
            </a:xfrm>
            <a:custGeom>
              <a:avLst/>
              <a:gdLst>
                <a:gd name="connsiteX0" fmla="*/ 57388 w 110612"/>
                <a:gd name="connsiteY0" fmla="*/ 87806 h 92177"/>
                <a:gd name="connsiteX1" fmla="*/ 107164 w 110612"/>
                <a:gd name="connsiteY1" fmla="*/ 6690 h 92177"/>
                <a:gd name="connsiteX2" fmla="*/ 57388 w 110612"/>
                <a:gd name="connsiteY2" fmla="*/ 20517 h 92177"/>
                <a:gd name="connsiteX3" fmla="*/ 6690 w 110612"/>
                <a:gd name="connsiteY3" fmla="*/ 6690 h 92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612" h="92177">
                  <a:moveTo>
                    <a:pt x="57388" y="87806"/>
                  </a:moveTo>
                  <a:lnTo>
                    <a:pt x="107164" y="6690"/>
                  </a:lnTo>
                  <a:lnTo>
                    <a:pt x="57388" y="20517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="" xmlns:a16="http://schemas.microsoft.com/office/drawing/2014/main" id="{3D876127-98F7-47AF-B9C5-D260F2BF504C}"/>
                </a:ext>
              </a:extLst>
            </p:cNvPr>
            <p:cNvSpPr/>
            <p:nvPr/>
          </p:nvSpPr>
          <p:spPr bwMode="gray">
            <a:xfrm>
              <a:off x="456962" y="625405"/>
              <a:ext cx="294968" cy="101395"/>
            </a:xfrm>
            <a:custGeom>
              <a:avLst/>
              <a:gdLst>
                <a:gd name="connsiteX0" fmla="*/ 6690 w 294967"/>
                <a:gd name="connsiteY0" fmla="*/ 6690 h 101395"/>
                <a:gd name="connsiteX1" fmla="*/ 149565 w 294967"/>
                <a:gd name="connsiteY1" fmla="*/ 36187 h 101395"/>
                <a:gd name="connsiteX2" fmla="*/ 291519 w 294967"/>
                <a:gd name="connsiteY2" fmla="*/ 6690 h 101395"/>
                <a:gd name="connsiteX3" fmla="*/ 246352 w 294967"/>
                <a:gd name="connsiteY3" fmla="*/ 78589 h 101395"/>
                <a:gd name="connsiteX4" fmla="*/ 149565 w 294967"/>
                <a:gd name="connsiteY4" fmla="*/ 103477 h 101395"/>
                <a:gd name="connsiteX5" fmla="*/ 51857 w 294967"/>
                <a:gd name="connsiteY5" fmla="*/ 78589 h 10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967" h="101395">
                  <a:moveTo>
                    <a:pt x="6690" y="6690"/>
                  </a:moveTo>
                  <a:lnTo>
                    <a:pt x="149565" y="36187"/>
                  </a:lnTo>
                  <a:lnTo>
                    <a:pt x="291519" y="6690"/>
                  </a:lnTo>
                  <a:lnTo>
                    <a:pt x="246352" y="78589"/>
                  </a:lnTo>
                  <a:lnTo>
                    <a:pt x="149565" y="103477"/>
                  </a:lnTo>
                  <a:lnTo>
                    <a:pt x="51857" y="7858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="" xmlns:a16="http://schemas.microsoft.com/office/drawing/2014/main" id="{6CBE5537-0B47-4CAE-97A3-6ACB407B6BB1}"/>
                </a:ext>
              </a:extLst>
            </p:cNvPr>
            <p:cNvSpPr/>
            <p:nvPr/>
          </p:nvSpPr>
          <p:spPr bwMode="gray">
            <a:xfrm>
              <a:off x="1992638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6CD1188C-E8A5-4819-B170-4B177942DE96}"/>
                </a:ext>
              </a:extLst>
            </p:cNvPr>
            <p:cNvSpPr/>
            <p:nvPr/>
          </p:nvSpPr>
          <p:spPr bwMode="gray">
            <a:xfrm>
              <a:off x="921536" y="714817"/>
              <a:ext cx="119831" cy="129049"/>
            </a:xfrm>
            <a:custGeom>
              <a:avLst/>
              <a:gdLst>
                <a:gd name="connsiteX0" fmla="*/ 90572 w 119830"/>
                <a:gd name="connsiteY0" fmla="*/ 119147 h 129048"/>
                <a:gd name="connsiteX1" fmla="*/ 90572 w 119830"/>
                <a:gd name="connsiteY1" fmla="*/ 61997 h 129048"/>
                <a:gd name="connsiteX2" fmla="*/ 61997 w 119830"/>
                <a:gd name="connsiteY2" fmla="*/ 122834 h 129048"/>
                <a:gd name="connsiteX3" fmla="*/ 33422 w 119830"/>
                <a:gd name="connsiteY3" fmla="*/ 61997 h 129048"/>
                <a:gd name="connsiteX4" fmla="*/ 33422 w 119830"/>
                <a:gd name="connsiteY4" fmla="*/ 119147 h 129048"/>
                <a:gd name="connsiteX5" fmla="*/ 6690 w 119830"/>
                <a:gd name="connsiteY5" fmla="*/ 119147 h 129048"/>
                <a:gd name="connsiteX6" fmla="*/ 6690 w 119830"/>
                <a:gd name="connsiteY6" fmla="*/ 6690 h 129048"/>
                <a:gd name="connsiteX7" fmla="*/ 33422 w 119830"/>
                <a:gd name="connsiteY7" fmla="*/ 6690 h 129048"/>
                <a:gd name="connsiteX8" fmla="*/ 61997 w 119830"/>
                <a:gd name="connsiteY8" fmla="*/ 69371 h 129048"/>
                <a:gd name="connsiteX9" fmla="*/ 90572 w 119830"/>
                <a:gd name="connsiteY9" fmla="*/ 6690 h 129048"/>
                <a:gd name="connsiteX10" fmla="*/ 117303 w 119830"/>
                <a:gd name="connsiteY10" fmla="*/ 6690 h 129048"/>
                <a:gd name="connsiteX11" fmla="*/ 117303 w 119830"/>
                <a:gd name="connsiteY11" fmla="*/ 119147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830" h="129048">
                  <a:moveTo>
                    <a:pt x="90572" y="119147"/>
                  </a:moveTo>
                  <a:lnTo>
                    <a:pt x="90572" y="61997"/>
                  </a:lnTo>
                  <a:lnTo>
                    <a:pt x="61997" y="122834"/>
                  </a:lnTo>
                  <a:lnTo>
                    <a:pt x="33422" y="61997"/>
                  </a:lnTo>
                  <a:lnTo>
                    <a:pt x="33422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33422" y="6690"/>
                  </a:lnTo>
                  <a:lnTo>
                    <a:pt x="61997" y="69371"/>
                  </a:lnTo>
                  <a:lnTo>
                    <a:pt x="90572" y="6690"/>
                  </a:lnTo>
                  <a:lnTo>
                    <a:pt x="117303" y="6690"/>
                  </a:lnTo>
                  <a:lnTo>
                    <a:pt x="117303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="" xmlns:a16="http://schemas.microsoft.com/office/drawing/2014/main" id="{61668D63-3FA1-4AF2-B213-ECC9C4B3A268}"/>
                </a:ext>
              </a:extLst>
            </p:cNvPr>
            <p:cNvSpPr/>
            <p:nvPr/>
          </p:nvSpPr>
          <p:spPr bwMode="gray">
            <a:xfrm>
              <a:off x="1154745" y="714817"/>
              <a:ext cx="101395" cy="119831"/>
            </a:xfrm>
            <a:custGeom>
              <a:avLst/>
              <a:gdLst>
                <a:gd name="connsiteX0" fmla="*/ 44483 w 101395"/>
                <a:gd name="connsiteY0" fmla="*/ 31578 h 119830"/>
                <a:gd name="connsiteX1" fmla="*/ 35265 w 101395"/>
                <a:gd name="connsiteY1" fmla="*/ 31578 h 119830"/>
                <a:gd name="connsiteX2" fmla="*/ 35265 w 101395"/>
                <a:gd name="connsiteY2" fmla="*/ 94259 h 119830"/>
                <a:gd name="connsiteX3" fmla="*/ 43561 w 101395"/>
                <a:gd name="connsiteY3" fmla="*/ 94259 h 119830"/>
                <a:gd name="connsiteX4" fmla="*/ 73058 w 101395"/>
                <a:gd name="connsiteY4" fmla="*/ 62919 h 119830"/>
                <a:gd name="connsiteX5" fmla="*/ 44483 w 101395"/>
                <a:gd name="connsiteY5" fmla="*/ 31578 h 119830"/>
                <a:gd name="connsiteX6" fmla="*/ 42640 w 101395"/>
                <a:gd name="connsiteY6" fmla="*/ 119147 h 119830"/>
                <a:gd name="connsiteX7" fmla="*/ 6690 w 101395"/>
                <a:gd name="connsiteY7" fmla="*/ 119147 h 119830"/>
                <a:gd name="connsiteX8" fmla="*/ 6690 w 101395"/>
                <a:gd name="connsiteY8" fmla="*/ 6690 h 119830"/>
                <a:gd name="connsiteX9" fmla="*/ 44483 w 101395"/>
                <a:gd name="connsiteY9" fmla="*/ 6690 h 119830"/>
                <a:gd name="connsiteX10" fmla="*/ 101633 w 101395"/>
                <a:gd name="connsiteY10" fmla="*/ 62919 h 119830"/>
                <a:gd name="connsiteX11" fmla="*/ 42640 w 101395"/>
                <a:gd name="connsiteY11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395" h="119830">
                  <a:moveTo>
                    <a:pt x="44483" y="31578"/>
                  </a:moveTo>
                  <a:lnTo>
                    <a:pt x="35265" y="31578"/>
                  </a:lnTo>
                  <a:lnTo>
                    <a:pt x="35265" y="94259"/>
                  </a:lnTo>
                  <a:lnTo>
                    <a:pt x="43561" y="94259"/>
                  </a:lnTo>
                  <a:cubicBezTo>
                    <a:pt x="64762" y="94259"/>
                    <a:pt x="73058" y="85041"/>
                    <a:pt x="73058" y="62919"/>
                  </a:cubicBezTo>
                  <a:cubicBezTo>
                    <a:pt x="73058" y="40796"/>
                    <a:pt x="65684" y="31578"/>
                    <a:pt x="44483" y="31578"/>
                  </a:cubicBezTo>
                  <a:moveTo>
                    <a:pt x="42640" y="119147"/>
                  </a:moveTo>
                  <a:lnTo>
                    <a:pt x="6690" y="119147"/>
                  </a:lnTo>
                  <a:lnTo>
                    <a:pt x="6690" y="6690"/>
                  </a:lnTo>
                  <a:lnTo>
                    <a:pt x="44483" y="6690"/>
                  </a:lnTo>
                  <a:cubicBezTo>
                    <a:pt x="78589" y="6690"/>
                    <a:pt x="101633" y="20517"/>
                    <a:pt x="101633" y="62919"/>
                  </a:cubicBezTo>
                  <a:cubicBezTo>
                    <a:pt x="102555" y="103477"/>
                    <a:pt x="78589" y="119147"/>
                    <a:pt x="42640" y="119147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="" xmlns:a16="http://schemas.microsoft.com/office/drawing/2014/main" id="{F2192334-94B8-4F22-AA44-4B0C12B3D587}"/>
                </a:ext>
              </a:extLst>
            </p:cNvPr>
            <p:cNvSpPr/>
            <p:nvPr/>
          </p:nvSpPr>
          <p:spPr bwMode="gray">
            <a:xfrm>
              <a:off x="1266280" y="714817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19147 h 119830"/>
                <a:gd name="connsiteX3" fmla="*/ 6690 w 36870"/>
                <a:gd name="connsiteY3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19147"/>
                  </a:lnTo>
                  <a:lnTo>
                    <a:pt x="6690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="" xmlns:a16="http://schemas.microsoft.com/office/drawing/2014/main" id="{D2668A00-CD5E-4280-A597-AE153B500BE9}"/>
                </a:ext>
              </a:extLst>
            </p:cNvPr>
            <p:cNvSpPr/>
            <p:nvPr/>
          </p:nvSpPr>
          <p:spPr bwMode="gray">
            <a:xfrm>
              <a:off x="1311447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6606" y="32500"/>
                    <a:pt x="71214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="" xmlns:a16="http://schemas.microsoft.com/office/drawing/2014/main" id="{B0577C68-2DEE-4BF6-B51A-99791D2DEEC5}"/>
                </a:ext>
              </a:extLst>
            </p:cNvPr>
            <p:cNvSpPr/>
            <p:nvPr/>
          </p:nvSpPr>
          <p:spPr bwMode="gray">
            <a:xfrm>
              <a:off x="1407311" y="714817"/>
              <a:ext cx="119831" cy="119831"/>
            </a:xfrm>
            <a:custGeom>
              <a:avLst/>
              <a:gdLst>
                <a:gd name="connsiteX0" fmla="*/ 50935 w 119830"/>
                <a:gd name="connsiteY0" fmla="*/ 73980 h 119830"/>
                <a:gd name="connsiteX1" fmla="*/ 73058 w 119830"/>
                <a:gd name="connsiteY1" fmla="*/ 73980 h 119830"/>
                <a:gd name="connsiteX2" fmla="*/ 61997 w 119830"/>
                <a:gd name="connsiteY2" fmla="*/ 38031 h 119830"/>
                <a:gd name="connsiteX3" fmla="*/ 50935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935" y="73980"/>
                  </a:moveTo>
                  <a:lnTo>
                    <a:pt x="73058" y="73980"/>
                  </a:lnTo>
                  <a:lnTo>
                    <a:pt x="61997" y="38031"/>
                  </a:lnTo>
                  <a:lnTo>
                    <a:pt x="50935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="" xmlns:a16="http://schemas.microsoft.com/office/drawing/2014/main" id="{7A5D6033-4D15-4E0E-8499-99E8AD9EE724}"/>
                </a:ext>
              </a:extLst>
            </p:cNvPr>
            <p:cNvSpPr/>
            <p:nvPr/>
          </p:nvSpPr>
          <p:spPr bwMode="gray">
            <a:xfrm>
              <a:off x="1529907" y="714817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86885 w 92177"/>
                <a:gd name="connsiteY1" fmla="*/ 119147 h 119830"/>
                <a:gd name="connsiteX2" fmla="*/ 86885 w 92177"/>
                <a:gd name="connsiteY2" fmla="*/ 93337 h 119830"/>
                <a:gd name="connsiteX3" fmla="*/ 35265 w 92177"/>
                <a:gd name="connsiteY3" fmla="*/ 93337 h 119830"/>
                <a:gd name="connsiteX4" fmla="*/ 35265 w 92177"/>
                <a:gd name="connsiteY4" fmla="*/ 6690 h 119830"/>
                <a:gd name="connsiteX5" fmla="*/ 6690 w 92177"/>
                <a:gd name="connsiteY5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86885" y="119147"/>
                  </a:lnTo>
                  <a:lnTo>
                    <a:pt x="86885" y="93337"/>
                  </a:lnTo>
                  <a:lnTo>
                    <a:pt x="35265" y="93337"/>
                  </a:lnTo>
                  <a:lnTo>
                    <a:pt x="35265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="" xmlns:a16="http://schemas.microsoft.com/office/drawing/2014/main" id="{84613A76-D400-4CF2-883D-EEE811AC8578}"/>
                </a:ext>
              </a:extLst>
            </p:cNvPr>
            <p:cNvSpPr/>
            <p:nvPr/>
          </p:nvSpPr>
          <p:spPr bwMode="gray">
            <a:xfrm>
              <a:off x="1663564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7527" y="32500"/>
                    <a:pt x="72136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="" xmlns:a16="http://schemas.microsoft.com/office/drawing/2014/main" id="{7E8FB464-89D3-47A1-B69A-AA224977CA30}"/>
                </a:ext>
              </a:extLst>
            </p:cNvPr>
            <p:cNvSpPr/>
            <p:nvPr/>
          </p:nvSpPr>
          <p:spPr bwMode="gray">
            <a:xfrm>
              <a:off x="1760351" y="714817"/>
              <a:ext cx="119831" cy="119831"/>
            </a:xfrm>
            <a:custGeom>
              <a:avLst/>
              <a:gdLst>
                <a:gd name="connsiteX0" fmla="*/ 50014 w 119830"/>
                <a:gd name="connsiteY0" fmla="*/ 73980 h 119830"/>
                <a:gd name="connsiteX1" fmla="*/ 72136 w 119830"/>
                <a:gd name="connsiteY1" fmla="*/ 73980 h 119830"/>
                <a:gd name="connsiteX2" fmla="*/ 61075 w 119830"/>
                <a:gd name="connsiteY2" fmla="*/ 38031 h 119830"/>
                <a:gd name="connsiteX3" fmla="*/ 50014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014" y="73980"/>
                  </a:moveTo>
                  <a:lnTo>
                    <a:pt x="72136" y="73980"/>
                  </a:lnTo>
                  <a:lnTo>
                    <a:pt x="61075" y="38031"/>
                  </a:lnTo>
                  <a:lnTo>
                    <a:pt x="50014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="" xmlns:a16="http://schemas.microsoft.com/office/drawing/2014/main" id="{E69364B3-1540-4AB0-ADD5-A6246E912EF0}"/>
                </a:ext>
              </a:extLst>
            </p:cNvPr>
            <p:cNvSpPr/>
            <p:nvPr/>
          </p:nvSpPr>
          <p:spPr bwMode="gray">
            <a:xfrm>
              <a:off x="1882947" y="714817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1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1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="" xmlns:a16="http://schemas.microsoft.com/office/drawing/2014/main" id="{A4468E86-F1C3-4055-A3E7-54E25705682B}"/>
                </a:ext>
              </a:extLst>
            </p:cNvPr>
            <p:cNvSpPr/>
            <p:nvPr/>
          </p:nvSpPr>
          <p:spPr bwMode="gray">
            <a:xfrm>
              <a:off x="1054272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="" xmlns:a16="http://schemas.microsoft.com/office/drawing/2014/main" id="{138606D8-34EB-4860-AB70-2E40D4D97650}"/>
                </a:ext>
              </a:extLst>
            </p:cNvPr>
            <p:cNvSpPr/>
            <p:nvPr/>
          </p:nvSpPr>
          <p:spPr bwMode="gray">
            <a:xfrm>
              <a:off x="1695827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90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1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90" y="111773"/>
                    <a:pt x="99790" y="87807"/>
                  </a:cubicBezTo>
                  <a:cubicBezTo>
                    <a:pt x="99790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1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="" xmlns:a16="http://schemas.microsoft.com/office/drawing/2014/main" id="{21FCB26C-15E9-4F46-9632-0ABD902B93F9}"/>
                </a:ext>
              </a:extLst>
            </p:cNvPr>
            <p:cNvSpPr/>
            <p:nvPr/>
          </p:nvSpPr>
          <p:spPr bwMode="gray">
            <a:xfrm>
              <a:off x="921536" y="545210"/>
              <a:ext cx="92177" cy="119831"/>
            </a:xfrm>
            <a:custGeom>
              <a:avLst/>
              <a:gdLst>
                <a:gd name="connsiteX0" fmla="*/ 35265 w 92177"/>
                <a:gd name="connsiteY0" fmla="*/ 31578 h 119830"/>
                <a:gd name="connsiteX1" fmla="*/ 35265 w 92177"/>
                <a:gd name="connsiteY1" fmla="*/ 49092 h 119830"/>
                <a:gd name="connsiteX2" fmla="*/ 74902 w 92177"/>
                <a:gd name="connsiteY2" fmla="*/ 49092 h 119830"/>
                <a:gd name="connsiteX3" fmla="*/ 74902 w 92177"/>
                <a:gd name="connsiteY3" fmla="*/ 73980 h 119830"/>
                <a:gd name="connsiteX4" fmla="*/ 35265 w 92177"/>
                <a:gd name="connsiteY4" fmla="*/ 73980 h 119830"/>
                <a:gd name="connsiteX5" fmla="*/ 35265 w 92177"/>
                <a:gd name="connsiteY5" fmla="*/ 119147 h 119830"/>
                <a:gd name="connsiteX6" fmla="*/ 6690 w 92177"/>
                <a:gd name="connsiteY6" fmla="*/ 119147 h 119830"/>
                <a:gd name="connsiteX7" fmla="*/ 6690 w 92177"/>
                <a:gd name="connsiteY7" fmla="*/ 6690 h 119830"/>
                <a:gd name="connsiteX8" fmla="*/ 90572 w 92177"/>
                <a:gd name="connsiteY8" fmla="*/ 6690 h 119830"/>
                <a:gd name="connsiteX9" fmla="*/ 90572 w 92177"/>
                <a:gd name="connsiteY9" fmla="*/ 31578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177" h="119830">
                  <a:moveTo>
                    <a:pt x="35265" y="31578"/>
                  </a:moveTo>
                  <a:lnTo>
                    <a:pt x="35265" y="49092"/>
                  </a:lnTo>
                  <a:lnTo>
                    <a:pt x="74902" y="49092"/>
                  </a:lnTo>
                  <a:lnTo>
                    <a:pt x="74902" y="73980"/>
                  </a:lnTo>
                  <a:lnTo>
                    <a:pt x="35265" y="73980"/>
                  </a:lnTo>
                  <a:lnTo>
                    <a:pt x="35265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90572" y="6690"/>
                  </a:lnTo>
                  <a:lnTo>
                    <a:pt x="90572" y="31578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="" xmlns:a16="http://schemas.microsoft.com/office/drawing/2014/main" id="{1E61FB9A-B4BA-4B75-9571-C1A731785F99}"/>
                </a:ext>
              </a:extLst>
            </p:cNvPr>
            <p:cNvSpPr/>
            <p:nvPr/>
          </p:nvSpPr>
          <p:spPr bwMode="gray">
            <a:xfrm>
              <a:off x="1017401" y="545210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0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0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="" xmlns:a16="http://schemas.microsoft.com/office/drawing/2014/main" id="{10C4A459-EF21-4E8F-B186-9514400A727C}"/>
                </a:ext>
              </a:extLst>
            </p:cNvPr>
            <p:cNvSpPr/>
            <p:nvPr/>
          </p:nvSpPr>
          <p:spPr bwMode="gray">
            <a:xfrm>
              <a:off x="1127092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1494 w 92177"/>
                <a:gd name="connsiteY1" fmla="*/ 119147 h 119830"/>
                <a:gd name="connsiteX2" fmla="*/ 91494 w 92177"/>
                <a:gd name="connsiteY2" fmla="*/ 94259 h 119830"/>
                <a:gd name="connsiteX3" fmla="*/ 34344 w 92177"/>
                <a:gd name="connsiteY3" fmla="*/ 94259 h 119830"/>
                <a:gd name="connsiteX4" fmla="*/ 34344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4344 w 92177"/>
                <a:gd name="connsiteY7" fmla="*/ 48170 h 119830"/>
                <a:gd name="connsiteX8" fmla="*/ 34344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1494" y="119147"/>
                  </a:lnTo>
                  <a:lnTo>
                    <a:pt x="91494" y="94259"/>
                  </a:lnTo>
                  <a:lnTo>
                    <a:pt x="34344" y="94259"/>
                  </a:lnTo>
                  <a:lnTo>
                    <a:pt x="34344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4344" y="48170"/>
                  </a:lnTo>
                  <a:lnTo>
                    <a:pt x="34344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="" xmlns:a16="http://schemas.microsoft.com/office/drawing/2014/main" id="{99B8B4C0-887D-42C2-A4EB-E52736671068}"/>
                </a:ext>
              </a:extLst>
            </p:cNvPr>
            <p:cNvSpPr/>
            <p:nvPr/>
          </p:nvSpPr>
          <p:spPr bwMode="gray">
            <a:xfrm>
              <a:off x="1217426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89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0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89" y="111773"/>
                    <a:pt x="99789" y="87807"/>
                  </a:cubicBezTo>
                  <a:cubicBezTo>
                    <a:pt x="99789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0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="" xmlns:a16="http://schemas.microsoft.com/office/drawing/2014/main" id="{02CF5730-BDC1-4484-9731-4961527F6197}"/>
                </a:ext>
              </a:extLst>
            </p:cNvPr>
            <p:cNvSpPr/>
            <p:nvPr/>
          </p:nvSpPr>
          <p:spPr bwMode="gray">
            <a:xfrm>
              <a:off x="1325273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2415 w 92177"/>
                <a:gd name="connsiteY1" fmla="*/ 119147 h 119830"/>
                <a:gd name="connsiteX2" fmla="*/ 92415 w 92177"/>
                <a:gd name="connsiteY2" fmla="*/ 94259 h 119830"/>
                <a:gd name="connsiteX3" fmla="*/ 35265 w 92177"/>
                <a:gd name="connsiteY3" fmla="*/ 94259 h 119830"/>
                <a:gd name="connsiteX4" fmla="*/ 35265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8728 w 92177"/>
                <a:gd name="connsiteY9" fmla="*/ 31578 h 119830"/>
                <a:gd name="connsiteX10" fmla="*/ 88728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2415" y="119147"/>
                  </a:lnTo>
                  <a:lnTo>
                    <a:pt x="92415" y="94259"/>
                  </a:lnTo>
                  <a:lnTo>
                    <a:pt x="35265" y="94259"/>
                  </a:lnTo>
                  <a:lnTo>
                    <a:pt x="35265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8728" y="31578"/>
                  </a:lnTo>
                  <a:lnTo>
                    <a:pt x="88728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="" xmlns:a16="http://schemas.microsoft.com/office/drawing/2014/main" id="{69929E60-A8ED-43A3-AB32-F6FD21CFAEA8}"/>
                </a:ext>
              </a:extLst>
            </p:cNvPr>
            <p:cNvSpPr/>
            <p:nvPr/>
          </p:nvSpPr>
          <p:spPr bwMode="gray">
            <a:xfrm>
              <a:off x="1424825" y="545210"/>
              <a:ext cx="101395" cy="119831"/>
            </a:xfrm>
            <a:custGeom>
              <a:avLst/>
              <a:gdLst>
                <a:gd name="connsiteX0" fmla="*/ 79510 w 101395"/>
                <a:gd name="connsiteY0" fmla="*/ 119147 h 119830"/>
                <a:gd name="connsiteX1" fmla="*/ 103477 w 101395"/>
                <a:gd name="connsiteY1" fmla="*/ 119147 h 119830"/>
                <a:gd name="connsiteX2" fmla="*/ 103477 w 101395"/>
                <a:gd name="connsiteY2" fmla="*/ 6690 h 119830"/>
                <a:gd name="connsiteX3" fmla="*/ 75823 w 101395"/>
                <a:gd name="connsiteY3" fmla="*/ 6690 h 119830"/>
                <a:gd name="connsiteX4" fmla="*/ 75823 w 101395"/>
                <a:gd name="connsiteY4" fmla="*/ 67527 h 119830"/>
                <a:gd name="connsiteX5" fmla="*/ 31578 w 101395"/>
                <a:gd name="connsiteY5" fmla="*/ 6690 h 119830"/>
                <a:gd name="connsiteX6" fmla="*/ 6690 w 101395"/>
                <a:gd name="connsiteY6" fmla="*/ 6690 h 119830"/>
                <a:gd name="connsiteX7" fmla="*/ 6690 w 101395"/>
                <a:gd name="connsiteY7" fmla="*/ 119147 h 119830"/>
                <a:gd name="connsiteX8" fmla="*/ 33422 w 101395"/>
                <a:gd name="connsiteY8" fmla="*/ 119147 h 119830"/>
                <a:gd name="connsiteX9" fmla="*/ 33422 w 101395"/>
                <a:gd name="connsiteY9" fmla="*/ 54623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395" h="119830">
                  <a:moveTo>
                    <a:pt x="79510" y="119147"/>
                  </a:moveTo>
                  <a:lnTo>
                    <a:pt x="103477" y="119147"/>
                  </a:lnTo>
                  <a:lnTo>
                    <a:pt x="103477" y="6690"/>
                  </a:lnTo>
                  <a:lnTo>
                    <a:pt x="75823" y="6690"/>
                  </a:lnTo>
                  <a:lnTo>
                    <a:pt x="75823" y="67527"/>
                  </a:lnTo>
                  <a:lnTo>
                    <a:pt x="31578" y="6690"/>
                  </a:lnTo>
                  <a:lnTo>
                    <a:pt x="6690" y="6690"/>
                  </a:lnTo>
                  <a:lnTo>
                    <a:pt x="6690" y="119147"/>
                  </a:lnTo>
                  <a:lnTo>
                    <a:pt x="33422" y="119147"/>
                  </a:lnTo>
                  <a:lnTo>
                    <a:pt x="33422" y="54623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="" xmlns:a16="http://schemas.microsoft.com/office/drawing/2014/main" id="{39EF7B90-99D5-4901-A522-12D9C8521EDD}"/>
                </a:ext>
              </a:extLst>
            </p:cNvPr>
            <p:cNvSpPr/>
            <p:nvPr/>
          </p:nvSpPr>
          <p:spPr bwMode="gray">
            <a:xfrm>
              <a:off x="1541890" y="545210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20069 h 119830"/>
                <a:gd name="connsiteX3" fmla="*/ 6690 w 36870"/>
                <a:gd name="connsiteY3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20069"/>
                  </a:lnTo>
                  <a:lnTo>
                    <a:pt x="6690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="" xmlns:a16="http://schemas.microsoft.com/office/drawing/2014/main" id="{5DBE0115-8041-434A-8507-D8A4415CA19E}"/>
                </a:ext>
              </a:extLst>
            </p:cNvPr>
            <p:cNvSpPr/>
            <p:nvPr/>
          </p:nvSpPr>
          <p:spPr bwMode="gray">
            <a:xfrm>
              <a:off x="1590713" y="544289"/>
              <a:ext cx="101395" cy="119831"/>
            </a:xfrm>
            <a:custGeom>
              <a:avLst/>
              <a:gdLst>
                <a:gd name="connsiteX0" fmla="*/ 53732 w 101395"/>
                <a:gd name="connsiteY0" fmla="*/ 121912 h 119830"/>
                <a:gd name="connsiteX1" fmla="*/ 102586 w 101395"/>
                <a:gd name="connsiteY1" fmla="*/ 71215 h 119830"/>
                <a:gd name="connsiteX2" fmla="*/ 102586 w 101395"/>
                <a:gd name="connsiteY2" fmla="*/ 6690 h 119830"/>
                <a:gd name="connsiteX3" fmla="*/ 74011 w 101395"/>
                <a:gd name="connsiteY3" fmla="*/ 6690 h 119830"/>
                <a:gd name="connsiteX4" fmla="*/ 74011 w 101395"/>
                <a:gd name="connsiteY4" fmla="*/ 71215 h 119830"/>
                <a:gd name="connsiteX5" fmla="*/ 54654 w 101395"/>
                <a:gd name="connsiteY5" fmla="*/ 96102 h 119830"/>
                <a:gd name="connsiteX6" fmla="*/ 35297 w 101395"/>
                <a:gd name="connsiteY6" fmla="*/ 71215 h 119830"/>
                <a:gd name="connsiteX7" fmla="*/ 35297 w 101395"/>
                <a:gd name="connsiteY7" fmla="*/ 6690 h 119830"/>
                <a:gd name="connsiteX8" fmla="*/ 6722 w 101395"/>
                <a:gd name="connsiteY8" fmla="*/ 6690 h 119830"/>
                <a:gd name="connsiteX9" fmla="*/ 6722 w 101395"/>
                <a:gd name="connsiteY9" fmla="*/ 71215 h 119830"/>
                <a:gd name="connsiteX10" fmla="*/ 53732 w 101395"/>
                <a:gd name="connsiteY10" fmla="*/ 121912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19830">
                  <a:moveTo>
                    <a:pt x="53732" y="121912"/>
                  </a:moveTo>
                  <a:cubicBezTo>
                    <a:pt x="82307" y="121912"/>
                    <a:pt x="102586" y="106242"/>
                    <a:pt x="102586" y="71215"/>
                  </a:cubicBezTo>
                  <a:lnTo>
                    <a:pt x="102586" y="6690"/>
                  </a:lnTo>
                  <a:lnTo>
                    <a:pt x="74011" y="6690"/>
                  </a:lnTo>
                  <a:lnTo>
                    <a:pt x="74011" y="71215"/>
                  </a:lnTo>
                  <a:cubicBezTo>
                    <a:pt x="74011" y="86885"/>
                    <a:pt x="67559" y="96102"/>
                    <a:pt x="54654" y="96102"/>
                  </a:cubicBezTo>
                  <a:cubicBezTo>
                    <a:pt x="41749" y="96102"/>
                    <a:pt x="35297" y="86885"/>
                    <a:pt x="35297" y="71215"/>
                  </a:cubicBezTo>
                  <a:lnTo>
                    <a:pt x="35297" y="6690"/>
                  </a:lnTo>
                  <a:lnTo>
                    <a:pt x="6722" y="6690"/>
                  </a:lnTo>
                  <a:lnTo>
                    <a:pt x="6722" y="71215"/>
                  </a:lnTo>
                  <a:cubicBezTo>
                    <a:pt x="5800" y="106242"/>
                    <a:pt x="25157" y="121912"/>
                    <a:pt x="53732" y="121912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13CA9EBD-6F8D-4A26-B970-8BBF1C5D532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 bwMode="gray">
          <a:xfrm>
            <a:off x="104428" y="6813862"/>
            <a:ext cx="36000" cy="36000"/>
          </a:xfrm>
        </p:spPr>
        <p:txBody>
          <a:bodyPr wrap="none"/>
          <a:lstStyle>
            <a:lvl1pPr algn="l">
              <a:defRPr sz="500">
                <a:noFill/>
              </a:defRPr>
            </a:lvl1pPr>
            <a:lvl2pPr marL="0" indent="0">
              <a:tabLst/>
              <a:defRPr sz="500">
                <a:noFill/>
              </a:defRPr>
            </a:lvl2pPr>
            <a:lvl3pPr marL="0" indent="0">
              <a:defRPr sz="500">
                <a:noFill/>
              </a:defRPr>
            </a:lvl3pPr>
            <a:lvl4pPr marL="0" indent="0">
              <a:defRPr sz="500">
                <a:noFill/>
              </a:defRPr>
            </a:lvl4pPr>
            <a:lvl5pPr marL="0" indent="0">
              <a:defRPr sz="500">
                <a:noFill/>
              </a:defRPr>
            </a:lvl5pPr>
            <a:lvl6pPr marL="0" indent="0">
              <a:defRPr sz="500">
                <a:noFill/>
              </a:defRPr>
            </a:lvl6pPr>
            <a:lvl7pPr marL="0" indent="0">
              <a:defRPr sz="500">
                <a:noFill/>
              </a:defRPr>
            </a:lvl7pPr>
            <a:lvl8pPr marL="0" indent="0">
              <a:defRPr sz="500">
                <a:noFill/>
              </a:defRPr>
            </a:lvl8pPr>
            <a:lvl9pPr marL="0" indent="0">
              <a:defRPr sz="500">
                <a:noFill/>
              </a:defRPr>
            </a:lvl9pPr>
          </a:lstStyle>
          <a:p>
            <a:fld id="{A8E26DD9-1FCE-4F1D-BAF3-3C7AFF4FE604}" type="datetime1">
              <a:rPr lang="en-US" noProof="0" smtClean="0"/>
              <a:t>4/29/2020</a:t>
            </a:fld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A2CB4CCE-38B3-4B3B-A24A-32762381027C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gray">
          <a:xfrm>
            <a:off x="9174" y="6813862"/>
            <a:ext cx="36000" cy="36000"/>
          </a:xfrm>
        </p:spPr>
        <p:txBody>
          <a:bodyPr wrap="none"/>
          <a:lstStyle>
            <a:lvl1pPr algn="l">
              <a:defRPr sz="500">
                <a:noFill/>
              </a:defRPr>
            </a:lvl1pPr>
            <a:lvl2pPr marL="0" indent="0">
              <a:defRPr sz="500">
                <a:noFill/>
              </a:defRPr>
            </a:lvl2pPr>
            <a:lvl3pPr marL="0" indent="0">
              <a:defRPr sz="500">
                <a:noFill/>
              </a:defRPr>
            </a:lvl3pPr>
            <a:lvl4pPr marL="0" indent="0">
              <a:defRPr sz="500">
                <a:noFill/>
              </a:defRPr>
            </a:lvl4pPr>
            <a:lvl5pPr marL="0" indent="0">
              <a:defRPr sz="500">
                <a:noFill/>
              </a:defRPr>
            </a:lvl5pPr>
            <a:lvl6pPr marL="0" indent="0">
              <a:defRPr sz="500">
                <a:noFill/>
              </a:defRPr>
            </a:lvl6pPr>
            <a:lvl7pPr marL="0" indent="0">
              <a:defRPr sz="500">
                <a:noFill/>
              </a:defRPr>
            </a:lvl7pPr>
            <a:lvl8pPr marL="0" indent="0">
              <a:defRPr sz="500">
                <a:noFill/>
              </a:defRPr>
            </a:lvl8pPr>
            <a:lvl9pPr marL="0" indent="0">
              <a:defRPr sz="500">
                <a:noFill/>
              </a:defRPr>
            </a:lvl9pPr>
          </a:lstStyle>
          <a:p>
            <a:fld id="{2CB2E8EB-2C5B-4D97-B458-C472B19B055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0" name="Fußzeilenplatzhalter 39">
            <a:extLst>
              <a:ext uri="{FF2B5EF4-FFF2-40B4-BE49-F238E27FC236}">
                <a16:creationId xmlns="" xmlns:a16="http://schemas.microsoft.com/office/drawing/2014/main" id="{3DACECFC-6869-481B-BC4F-C6B9129378EE}"/>
              </a:ext>
            </a:extLst>
          </p:cNvPr>
          <p:cNvSpPr>
            <a:spLocks noGrp="1"/>
          </p:cNvSpPr>
          <p:nvPr userDrawn="1">
            <p:ph type="ftr" sz="quarter" idx="13"/>
          </p:nvPr>
        </p:nvSpPr>
        <p:spPr bwMode="gray">
          <a:xfrm>
            <a:off x="56801" y="6813862"/>
            <a:ext cx="36000" cy="36000"/>
          </a:xfrm>
        </p:spPr>
        <p:txBody>
          <a:bodyPr wrap="none"/>
          <a:lstStyle>
            <a:lvl1pPr algn="l">
              <a:defRPr sz="500">
                <a:noFill/>
              </a:defRPr>
            </a:lvl1pPr>
            <a:lvl2pPr marL="0" indent="0" algn="l">
              <a:defRPr sz="500">
                <a:noFill/>
              </a:defRPr>
            </a:lvl2pPr>
            <a:lvl3pPr algn="l">
              <a:defRPr sz="500">
                <a:noFill/>
              </a:defRPr>
            </a:lvl3pPr>
            <a:lvl4pPr algn="l">
              <a:defRPr sz="500">
                <a:noFill/>
              </a:defRPr>
            </a:lvl4pPr>
            <a:lvl5pPr algn="l">
              <a:defRPr sz="500">
                <a:noFill/>
              </a:defRPr>
            </a:lvl5pPr>
            <a:lvl6pPr algn="l">
              <a:defRPr sz="500">
                <a:noFill/>
              </a:defRPr>
            </a:lvl6pPr>
            <a:lvl7pPr algn="l">
              <a:defRPr sz="500">
                <a:noFill/>
              </a:defRPr>
            </a:lvl7pPr>
            <a:lvl8pPr algn="l">
              <a:defRPr sz="500">
                <a:noFill/>
              </a:defRPr>
            </a:lvl8pPr>
            <a:lvl9pPr algn="l">
              <a:defRPr sz="500">
                <a:noFill/>
              </a:defRPr>
            </a:lvl9pPr>
          </a:lstStyle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 dirty="0"/>
          </a:p>
        </p:txBody>
      </p:sp>
      <p:sp>
        <p:nvSpPr>
          <p:cNvPr id="37" name="TextBox 1">
            <a:extLst>
              <a:ext uri="{FF2B5EF4-FFF2-40B4-BE49-F238E27FC236}">
                <a16:creationId xmlns="" xmlns:a16="http://schemas.microsoft.com/office/drawing/2014/main" id="{30D196D0-74F8-434E-9BA2-80397634779A}"/>
              </a:ext>
            </a:extLst>
          </p:cNvPr>
          <p:cNvSpPr txBox="1"/>
          <p:nvPr userDrawn="1"/>
        </p:nvSpPr>
        <p:spPr bwMode="gray">
          <a:xfrm>
            <a:off x="11099800" y="6580158"/>
            <a:ext cx="792163" cy="200055"/>
          </a:xfrm>
          <a:prstGeom prst="rect">
            <a:avLst/>
          </a:prstGeom>
          <a:noFill/>
        </p:spPr>
        <p:txBody>
          <a:bodyPr wrap="square" rIns="0" rtlCol="0" anchor="ctr">
            <a:spAutoFit/>
          </a:bodyPr>
          <a:lstStyle/>
          <a:p>
            <a:pPr marL="0" marR="0" lvl="0" indent="-365760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noProof="0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© Copyright</a:t>
            </a:r>
            <a:endParaRPr lang="en-US" sz="700" b="1" noProof="0" dirty="0">
              <a:solidFill>
                <a:schemeClr val="accent5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1" name="Title 40">
            <a:extLst>
              <a:ext uri="{FF2B5EF4-FFF2-40B4-BE49-F238E27FC236}">
                <a16:creationId xmlns="" xmlns:a16="http://schemas.microsoft.com/office/drawing/2014/main" id="{21EEDAC8-D9F5-463C-9D57-4BFA63AC97FF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0" y="1071563"/>
            <a:ext cx="5733131" cy="5461200"/>
          </a:xfrm>
          <a:blipFill>
            <a:blip r:embed="rId8"/>
            <a:stretch>
              <a:fillRect/>
            </a:stretch>
          </a:blipFill>
        </p:spPr>
        <p:txBody>
          <a:bodyPr lIns="756000" tIns="1620000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="" xmlns:a16="http://schemas.microsoft.com/office/drawing/2014/main" id="{2EF2FB8C-D2E2-4034-BF01-E5C58FCD5E2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85749" y="1070369"/>
            <a:ext cx="116172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="" xmlns:a16="http://schemas.microsoft.com/office/drawing/2014/main" id="{A4BC7D16-6FF2-4D53-9FEA-EB5227D184C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896726" y="1065607"/>
            <a:ext cx="0" cy="54684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="" xmlns:a16="http://schemas.microsoft.com/office/drawing/2014/main" id="{7EE8B47B-F497-4C27-BBAA-ECAEBAF3CA2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85748" y="6529388"/>
            <a:ext cx="116172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ubtitle 2">
            <a:extLst>
              <a:ext uri="{FF2B5EF4-FFF2-40B4-BE49-F238E27FC236}">
                <a16:creationId xmlns="" xmlns:a16="http://schemas.microsoft.com/office/drawing/2014/main" id="{D4FB624B-F770-486D-9249-4465DEA482D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 bwMode="gray">
          <a:xfrm>
            <a:off x="764030" y="4257675"/>
            <a:ext cx="4893831" cy="792163"/>
          </a:xfrm>
        </p:spPr>
        <p:txBody>
          <a:bodyPr/>
          <a:lstStyle>
            <a:lvl1pPr marL="0" indent="0" algn="l"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 cap="none" baseline="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2809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="" xmlns:a16="http://schemas.microsoft.com/office/drawing/2014/main" id="{E0DA2FDE-7B81-44CF-B3AF-D0E554D01E13}"/>
              </a:ext>
            </a:extLst>
          </p:cNvPr>
          <p:cNvSpPr/>
          <p:nvPr userDrawn="1"/>
        </p:nvSpPr>
        <p:spPr bwMode="gray">
          <a:xfrm>
            <a:off x="6238875" y="1268413"/>
            <a:ext cx="5365749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cxnSp>
        <p:nvCxnSpPr>
          <p:cNvPr id="24" name="Gerader Verbinder 23">
            <a:extLst>
              <a:ext uri="{FF2B5EF4-FFF2-40B4-BE49-F238E27FC236}">
                <a16:creationId xmlns="" xmlns:a16="http://schemas.microsoft.com/office/drawing/2014/main" id="{2DF00A1E-7086-4359-B799-8B1C6DDE0A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33039" y="12684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="" xmlns:a16="http://schemas.microsoft.com/office/drawing/2014/main" id="{F5B94FE7-C0EB-419D-BB1F-001E625485B4}"/>
              </a:ext>
            </a:extLst>
          </p:cNvPr>
          <p:cNvSpPr/>
          <p:nvPr userDrawn="1"/>
        </p:nvSpPr>
        <p:spPr bwMode="gray">
          <a:xfrm>
            <a:off x="587375" y="1268413"/>
            <a:ext cx="5363425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B84B42A7-E98C-43B9-BBDF-B7AAFF4818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43559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8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0A1FD7E6-6241-49B3-AC25-A68AF51DA15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="" xmlns:a16="http://schemas.microsoft.com/office/drawing/2014/main" id="{53B0C0D0-8449-400E-BD85-F421255DA95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6176D93-15A7-4621-9161-70DD13E9F70F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E4CE0ECD-5F8E-48E1-BC19-B818383B25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48E7CED3-DE86-4867-90E9-D86F12EC7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="" xmlns:a16="http://schemas.microsoft.com/office/drawing/2014/main" id="{3E47E4A0-FBAA-42BA-B464-1F5DF6D8127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5" y="346076"/>
            <a:ext cx="11017249" cy="72008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="" xmlns:a16="http://schemas.microsoft.com/office/drawing/2014/main" id="{BB2BA0C4-7AB0-4483-B1D8-9C6C9A790B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1012783" y="1773239"/>
            <a:ext cx="4940342" cy="424815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="" xmlns:a16="http://schemas.microsoft.com/office/drawing/2014/main" id="{0C3F763F-59D4-414C-9DED-B45F031C27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653369" y="1773239"/>
            <a:ext cx="4950000" cy="424815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="" xmlns:a16="http://schemas.microsoft.com/office/drawing/2014/main" id="{82799730-C4C6-4362-9990-33C6A71A0146}"/>
              </a:ext>
            </a:extLst>
          </p:cNvPr>
          <p:cNvSpPr>
            <a:spLocks noGrp="1"/>
          </p:cNvSpPr>
          <p:nvPr>
            <p:ph type="subTitle" idx="13"/>
          </p:nvPr>
        </p:nvSpPr>
        <p:spPr bwMode="gray">
          <a:xfrm>
            <a:off x="1012784" y="1384438"/>
            <a:ext cx="4938013" cy="201474"/>
          </a:xfrm>
          <a:noFill/>
        </p:spPr>
        <p:txBody>
          <a:bodyPr lIns="0" anchor="ctr"/>
          <a:lstStyle>
            <a:lvl1pPr marL="0" indent="0" algn="l">
              <a:spcAft>
                <a:spcPts val="60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 algn="l"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 algn="l"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 algn="l"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 algn="l"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 algn="l"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 algn="l"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 algn="l"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 algn="l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="" xmlns:a16="http://schemas.microsoft.com/office/drawing/2014/main" id="{223EBF8A-D3BA-45CA-A133-369D09D0AB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653368" y="1384438"/>
            <a:ext cx="4951255" cy="201473"/>
          </a:xfrm>
          <a:noFill/>
        </p:spPr>
        <p:txBody>
          <a:bodyPr l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="" xmlns:a16="http://schemas.microsoft.com/office/drawing/2014/main" id="{32FCDCD2-7E71-487C-AE72-37F62FA34D6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586800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="" xmlns:a16="http://schemas.microsoft.com/office/drawing/2014/main" id="{FEBB1C22-9404-4597-A9AD-99B8E91ACC1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91764" y="12684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259448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2" pos="3750" userDrawn="1">
          <p15:clr>
            <a:srgbClr val="FBAE40"/>
          </p15:clr>
        </p15:guide>
        <p15:guide id="3" pos="393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="" xmlns:a16="http://schemas.microsoft.com/office/drawing/2014/main" id="{A459ED25-225E-4043-A420-ACE37F8E8AC9}"/>
              </a:ext>
            </a:extLst>
          </p:cNvPr>
          <p:cNvSpPr/>
          <p:nvPr userDrawn="1"/>
        </p:nvSpPr>
        <p:spPr bwMode="gray">
          <a:xfrm>
            <a:off x="6238875" y="1268413"/>
            <a:ext cx="5365749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sp>
        <p:nvSpPr>
          <p:cNvPr id="28" name="Rechteck 27">
            <a:extLst>
              <a:ext uri="{FF2B5EF4-FFF2-40B4-BE49-F238E27FC236}">
                <a16:creationId xmlns="" xmlns:a16="http://schemas.microsoft.com/office/drawing/2014/main" id="{74CC0A53-2089-4845-9086-07772E55A61B}"/>
              </a:ext>
            </a:extLst>
          </p:cNvPr>
          <p:cNvSpPr/>
          <p:nvPr userDrawn="1"/>
        </p:nvSpPr>
        <p:spPr bwMode="gray">
          <a:xfrm>
            <a:off x="587375" y="1268413"/>
            <a:ext cx="5363425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B4F39E40-A3D5-493E-BA2D-A3D865C3B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10363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B1DB63F8-A226-45FE-97BA-631F2F1E8A5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="" xmlns:a16="http://schemas.microsoft.com/office/drawing/2014/main" id="{508362C9-6133-4A94-8A06-14D8DD335C0D}"/>
              </a:ext>
            </a:extLst>
          </p:cNvPr>
          <p:cNvSpPr/>
          <p:nvPr userDrawn="1"/>
        </p:nvSpPr>
        <p:spPr bwMode="gray">
          <a:xfrm>
            <a:off x="6238875" y="3856439"/>
            <a:ext cx="5365749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cxnSp>
        <p:nvCxnSpPr>
          <p:cNvPr id="42" name="Gerader Verbinder 41">
            <a:extLst>
              <a:ext uri="{FF2B5EF4-FFF2-40B4-BE49-F238E27FC236}">
                <a16:creationId xmlns="" xmlns:a16="http://schemas.microsoft.com/office/drawing/2014/main" id="{B9C2A7B3-CEA1-44F1-AE2B-AFE20BD2D80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33039" y="3856439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 34">
            <a:extLst>
              <a:ext uri="{FF2B5EF4-FFF2-40B4-BE49-F238E27FC236}">
                <a16:creationId xmlns="" xmlns:a16="http://schemas.microsoft.com/office/drawing/2014/main" id="{18663C98-3027-4520-B947-C32C6641117F}"/>
              </a:ext>
            </a:extLst>
          </p:cNvPr>
          <p:cNvSpPr/>
          <p:nvPr userDrawn="1"/>
        </p:nvSpPr>
        <p:spPr bwMode="gray">
          <a:xfrm>
            <a:off x="598338" y="3859213"/>
            <a:ext cx="5353200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cxnSp>
        <p:nvCxnSpPr>
          <p:cNvPr id="36" name="Gerader Verbinder 35">
            <a:extLst>
              <a:ext uri="{FF2B5EF4-FFF2-40B4-BE49-F238E27FC236}">
                <a16:creationId xmlns="" xmlns:a16="http://schemas.microsoft.com/office/drawing/2014/main" id="{7E944DCF-31D5-4314-A4E2-62F085EAD32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92502" y="38592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="" xmlns:a16="http://schemas.microsoft.com/office/drawing/2014/main" id="{6A9A1B12-F7DF-40FC-9CC1-B5428FFA8BF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33039" y="12684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="" xmlns:a16="http://schemas.microsoft.com/office/drawing/2014/main" id="{3F91B7EF-8850-4176-A83A-AD087C0C0F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91764" y="12684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umsplatzhalter 2">
            <a:extLst>
              <a:ext uri="{FF2B5EF4-FFF2-40B4-BE49-F238E27FC236}">
                <a16:creationId xmlns="" xmlns:a16="http://schemas.microsoft.com/office/drawing/2014/main" id="{53B0C0D0-8449-400E-BD85-F421255DA95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8F02E58-AB55-420D-9293-7C548C580D7D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E4CE0ECD-5F8E-48E1-BC19-B818383B25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48E7CED3-DE86-4867-90E9-D86F12EC7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Title 8">
            <a:extLst>
              <a:ext uri="{FF2B5EF4-FFF2-40B4-BE49-F238E27FC236}">
                <a16:creationId xmlns="" xmlns:a16="http://schemas.microsoft.com/office/drawing/2014/main" id="{C4CE21AA-DB16-48A3-8ED1-B5644108599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="" xmlns:a16="http://schemas.microsoft.com/office/drawing/2014/main" id="{0BC70AC1-2DF6-4C31-84F6-A5C147376673}"/>
              </a:ext>
            </a:extLst>
          </p:cNvPr>
          <p:cNvSpPr>
            <a:spLocks noGrp="1"/>
          </p:cNvSpPr>
          <p:nvPr>
            <p:ph type="subTitle" idx="13"/>
          </p:nvPr>
        </p:nvSpPr>
        <p:spPr bwMode="gray">
          <a:xfrm>
            <a:off x="1013859" y="1384437"/>
            <a:ext cx="4939200" cy="201475"/>
          </a:xfrm>
          <a:noFill/>
        </p:spPr>
        <p:txBody>
          <a:bodyPr lIns="0" anchor="ctr"/>
          <a:lstStyle>
            <a:lvl1pPr marL="0" indent="0" algn="l">
              <a:spcAft>
                <a:spcPts val="60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 algn="l"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 algn="l"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 algn="l"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 algn="l"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 algn="l"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 algn="l"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 algn="l"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 algn="l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="" xmlns:a16="http://schemas.microsoft.com/office/drawing/2014/main" id="{EF461AF6-9BB2-41B6-A2AE-7A2107B83A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652800" y="1384438"/>
            <a:ext cx="4950000" cy="201474"/>
          </a:xfrm>
          <a:noFill/>
        </p:spPr>
        <p:txBody>
          <a:bodyPr l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="" xmlns:a16="http://schemas.microsoft.com/office/drawing/2014/main" id="{82A1DD42-43A0-40F5-9FB1-EB13604456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1014597" y="3978145"/>
            <a:ext cx="4939200" cy="201600"/>
          </a:xfrm>
          <a:noFill/>
        </p:spPr>
        <p:txBody>
          <a:bodyPr l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="" xmlns:a16="http://schemas.microsoft.com/office/drawing/2014/main" id="{F68B9756-7454-4451-B311-9E7C8AC3533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6652800" y="3978145"/>
            <a:ext cx="4950000" cy="201600"/>
          </a:xfrm>
          <a:noFill/>
        </p:spPr>
        <p:txBody>
          <a:bodyPr l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7" name="Text Placeholder 19">
            <a:extLst>
              <a:ext uri="{FF2B5EF4-FFF2-40B4-BE49-F238E27FC236}">
                <a16:creationId xmlns="" xmlns:a16="http://schemas.microsoft.com/office/drawing/2014/main" id="{7B5868B1-EEED-4B43-895B-624EDDE66A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1013859" y="1773239"/>
            <a:ext cx="4939200" cy="1655761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="" xmlns:a16="http://schemas.microsoft.com/office/drawing/2014/main" id="{6EEDF8D1-D435-4D01-909A-75E07E82CF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652800" y="1773239"/>
            <a:ext cx="4950000" cy="1655761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9" name="Text Placeholder 19">
            <a:extLst>
              <a:ext uri="{FF2B5EF4-FFF2-40B4-BE49-F238E27FC236}">
                <a16:creationId xmlns="" xmlns:a16="http://schemas.microsoft.com/office/drawing/2014/main" id="{FC219F49-EEC2-48C5-8F1C-972489F5FCB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013859" y="4365627"/>
            <a:ext cx="4939200" cy="1655761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22">
            <a:extLst>
              <a:ext uri="{FF2B5EF4-FFF2-40B4-BE49-F238E27FC236}">
                <a16:creationId xmlns="" xmlns:a16="http://schemas.microsoft.com/office/drawing/2014/main" id="{E7FCD9B1-4108-4F01-9153-205F6B4EBE7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652800" y="4365627"/>
            <a:ext cx="4950000" cy="1655761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="" xmlns:a16="http://schemas.microsoft.com/office/drawing/2014/main" id="{915BFA5C-7EC8-46A6-A1C0-46817C9F520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586800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3363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  <p15:guide id="4" orient="horz" pos="21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="" xmlns:a16="http://schemas.microsoft.com/office/drawing/2014/main" id="{34866180-971B-424C-9D47-2983C1C91B2E}"/>
              </a:ext>
            </a:extLst>
          </p:cNvPr>
          <p:cNvSpPr/>
          <p:nvPr userDrawn="1"/>
        </p:nvSpPr>
        <p:spPr bwMode="gray">
          <a:xfrm>
            <a:off x="587376" y="1268413"/>
            <a:ext cx="3473450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sp>
        <p:nvSpPr>
          <p:cNvPr id="24" name="Rechteck 23">
            <a:extLst>
              <a:ext uri="{FF2B5EF4-FFF2-40B4-BE49-F238E27FC236}">
                <a16:creationId xmlns="" xmlns:a16="http://schemas.microsoft.com/office/drawing/2014/main" id="{3489F47D-6836-4876-B1D5-B8DD695E4B2A}"/>
              </a:ext>
            </a:extLst>
          </p:cNvPr>
          <p:cNvSpPr/>
          <p:nvPr userDrawn="1"/>
        </p:nvSpPr>
        <p:spPr bwMode="gray">
          <a:xfrm>
            <a:off x="8128000" y="1268413"/>
            <a:ext cx="3475140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cxnSp>
        <p:nvCxnSpPr>
          <p:cNvPr id="26" name="Gerader Verbinder 25">
            <a:extLst>
              <a:ext uri="{FF2B5EF4-FFF2-40B4-BE49-F238E27FC236}">
                <a16:creationId xmlns="" xmlns:a16="http://schemas.microsoft.com/office/drawing/2014/main" id="{2C5FDEB5-86B3-45A3-9DF4-E3E97A371C6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426903" y="12684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>
            <a:extLst>
              <a:ext uri="{FF2B5EF4-FFF2-40B4-BE49-F238E27FC236}">
                <a16:creationId xmlns="" xmlns:a16="http://schemas.microsoft.com/office/drawing/2014/main" id="{3801879F-BD0C-4B54-ACF7-1B6E8F7C07F9}"/>
              </a:ext>
            </a:extLst>
          </p:cNvPr>
          <p:cNvSpPr/>
          <p:nvPr userDrawn="1"/>
        </p:nvSpPr>
        <p:spPr bwMode="gray">
          <a:xfrm>
            <a:off x="4351338" y="1268413"/>
            <a:ext cx="3476625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cxnSp>
        <p:nvCxnSpPr>
          <p:cNvPr id="23" name="Gerader Verbinder 22">
            <a:extLst>
              <a:ext uri="{FF2B5EF4-FFF2-40B4-BE49-F238E27FC236}">
                <a16:creationId xmlns="" xmlns:a16="http://schemas.microsoft.com/office/drawing/2014/main" id="{FA7BF418-36BA-4906-9A34-733AF02167B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651726" y="12684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="" xmlns:a16="http://schemas.microsoft.com/office/drawing/2014/main" id="{1EB9134F-EF3B-4FB2-9819-7AD879A3C32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91979" y="12684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786E3FE3-FADB-4310-B4CA-04B6A105B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9626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8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B80E1A81-3576-4F28-87BC-B314A8ECD51E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0" name="Text Placeholder 19">
            <a:extLst>
              <a:ext uri="{FF2B5EF4-FFF2-40B4-BE49-F238E27FC236}">
                <a16:creationId xmlns="" xmlns:a16="http://schemas.microsoft.com/office/drawing/2014/main" id="{C98037BA-C42B-4909-9B61-C9BC9A052E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767942" y="1773239"/>
            <a:ext cx="3060000" cy="42481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="" xmlns:a16="http://schemas.microsoft.com/office/drawing/2014/main" id="{53B0C0D0-8449-400E-BD85-F421255DA95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B3AB694-C496-4574-9009-DBDFFD0972FC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E4CE0ECD-5F8E-48E1-BC19-B818383B25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48E7CED3-DE86-4867-90E9-D86F12EC7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239108F6-D5E1-4A7D-A33A-1BFA5318413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="" xmlns:a16="http://schemas.microsoft.com/office/drawing/2014/main" id="{8E31026D-68A2-4E81-9FF9-D2073325D8EC}"/>
              </a:ext>
            </a:extLst>
          </p:cNvPr>
          <p:cNvSpPr>
            <a:spLocks noGrp="1"/>
          </p:cNvSpPr>
          <p:nvPr>
            <p:ph type="subTitle" idx="13"/>
          </p:nvPr>
        </p:nvSpPr>
        <p:spPr bwMode="gray">
          <a:xfrm>
            <a:off x="1012151" y="1268413"/>
            <a:ext cx="3040632" cy="432000"/>
          </a:xfrm>
          <a:noFill/>
        </p:spPr>
        <p:txBody>
          <a:bodyPr lIns="0" anchor="ctr"/>
          <a:lstStyle>
            <a:lvl1pPr marL="0" indent="0" algn="l">
              <a:spcAft>
                <a:spcPts val="60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 algn="l"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 algn="l"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 algn="l"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 algn="l"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 algn="l"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 algn="l"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 algn="l"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 algn="l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="" xmlns:a16="http://schemas.microsoft.com/office/drawing/2014/main" id="{FEB1BE97-BCD7-4523-AB2C-0118E40FB2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767942" y="1386000"/>
            <a:ext cx="3060000" cy="201600"/>
          </a:xfrm>
          <a:noFill/>
        </p:spPr>
        <p:txBody>
          <a:bodyPr l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="" xmlns:a16="http://schemas.microsoft.com/office/drawing/2014/main" id="{BDDD9465-CCD8-4F42-A37D-AEFB4BAFFD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8543464" y="1386000"/>
            <a:ext cx="3061161" cy="201600"/>
          </a:xfrm>
          <a:noFill/>
        </p:spPr>
        <p:txBody>
          <a:bodyPr l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="" xmlns:a16="http://schemas.microsoft.com/office/drawing/2014/main" id="{218A52FE-5D94-42BE-A987-92B90293029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012151" y="1773239"/>
            <a:ext cx="3048675" cy="42481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19">
            <a:extLst>
              <a:ext uri="{FF2B5EF4-FFF2-40B4-BE49-F238E27FC236}">
                <a16:creationId xmlns="" xmlns:a16="http://schemas.microsoft.com/office/drawing/2014/main" id="{5F328A78-DB07-4A87-8938-E7A271A4C4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8543464" y="1773239"/>
            <a:ext cx="3061161" cy="424814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16">
            <a:extLst>
              <a:ext uri="{FF2B5EF4-FFF2-40B4-BE49-F238E27FC236}">
                <a16:creationId xmlns="" xmlns:a16="http://schemas.microsoft.com/office/drawing/2014/main" id="{68A416A4-7586-4AE4-895E-E8DAFB1CEA6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586800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8949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pos="2741" userDrawn="1">
          <p15:clr>
            <a:srgbClr val="FBAE40"/>
          </p15:clr>
        </p15:guide>
        <p15:guide id="2" pos="2558" userDrawn="1">
          <p15:clr>
            <a:srgbClr val="FBAE40"/>
          </p15:clr>
        </p15:guide>
        <p15:guide id="3" pos="4931" userDrawn="1">
          <p15:clr>
            <a:srgbClr val="FBAE40"/>
          </p15:clr>
        </p15:guide>
        <p15:guide id="4" pos="51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>
            <a:extLst>
              <a:ext uri="{FF2B5EF4-FFF2-40B4-BE49-F238E27FC236}">
                <a16:creationId xmlns="" xmlns:a16="http://schemas.microsoft.com/office/drawing/2014/main" id="{8DD521E6-8641-49B1-B690-EB7D64366705}"/>
              </a:ext>
            </a:extLst>
          </p:cNvPr>
          <p:cNvSpPr/>
          <p:nvPr userDrawn="1"/>
        </p:nvSpPr>
        <p:spPr bwMode="gray">
          <a:xfrm>
            <a:off x="4351338" y="3859213"/>
            <a:ext cx="3476625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sp>
        <p:nvSpPr>
          <p:cNvPr id="56" name="Rechteck 55">
            <a:extLst>
              <a:ext uri="{FF2B5EF4-FFF2-40B4-BE49-F238E27FC236}">
                <a16:creationId xmlns="" xmlns:a16="http://schemas.microsoft.com/office/drawing/2014/main" id="{648E0EAD-C279-405C-AFDE-4E027AB42A76}"/>
              </a:ext>
            </a:extLst>
          </p:cNvPr>
          <p:cNvSpPr/>
          <p:nvPr userDrawn="1"/>
        </p:nvSpPr>
        <p:spPr bwMode="gray">
          <a:xfrm>
            <a:off x="8128000" y="3859213"/>
            <a:ext cx="3475140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sp>
        <p:nvSpPr>
          <p:cNvPr id="55" name="Rechteck 54">
            <a:extLst>
              <a:ext uri="{FF2B5EF4-FFF2-40B4-BE49-F238E27FC236}">
                <a16:creationId xmlns="" xmlns:a16="http://schemas.microsoft.com/office/drawing/2014/main" id="{7F12D0F9-D8EC-4A75-A70D-942D5976C022}"/>
              </a:ext>
            </a:extLst>
          </p:cNvPr>
          <p:cNvSpPr/>
          <p:nvPr userDrawn="1"/>
        </p:nvSpPr>
        <p:spPr bwMode="gray">
          <a:xfrm>
            <a:off x="8128000" y="1268413"/>
            <a:ext cx="3475140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sp>
        <p:nvSpPr>
          <p:cNvPr id="52" name="Rechteck 51">
            <a:extLst>
              <a:ext uri="{FF2B5EF4-FFF2-40B4-BE49-F238E27FC236}">
                <a16:creationId xmlns="" xmlns:a16="http://schemas.microsoft.com/office/drawing/2014/main" id="{AAFB3BD9-B01C-44F3-A7F3-23C388A05E7E}"/>
              </a:ext>
            </a:extLst>
          </p:cNvPr>
          <p:cNvSpPr/>
          <p:nvPr userDrawn="1"/>
        </p:nvSpPr>
        <p:spPr bwMode="gray">
          <a:xfrm>
            <a:off x="587376" y="3859213"/>
            <a:ext cx="3473450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sp>
        <p:nvSpPr>
          <p:cNvPr id="41" name="Rechteck 40">
            <a:extLst>
              <a:ext uri="{FF2B5EF4-FFF2-40B4-BE49-F238E27FC236}">
                <a16:creationId xmlns="" xmlns:a16="http://schemas.microsoft.com/office/drawing/2014/main" id="{40E648E9-6748-43E2-AA5B-FDB0B0DC9856}"/>
              </a:ext>
            </a:extLst>
          </p:cNvPr>
          <p:cNvSpPr/>
          <p:nvPr userDrawn="1"/>
        </p:nvSpPr>
        <p:spPr bwMode="gray">
          <a:xfrm>
            <a:off x="587376" y="1268413"/>
            <a:ext cx="3473450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sp>
        <p:nvSpPr>
          <p:cNvPr id="51" name="Rechteck 50">
            <a:extLst>
              <a:ext uri="{FF2B5EF4-FFF2-40B4-BE49-F238E27FC236}">
                <a16:creationId xmlns="" xmlns:a16="http://schemas.microsoft.com/office/drawing/2014/main" id="{C7393465-9845-4AD2-AAF9-DEBCB8F8802B}"/>
              </a:ext>
            </a:extLst>
          </p:cNvPr>
          <p:cNvSpPr/>
          <p:nvPr userDrawn="1"/>
        </p:nvSpPr>
        <p:spPr bwMode="gray">
          <a:xfrm>
            <a:off x="4351338" y="1268413"/>
            <a:ext cx="3476625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cxnSp>
        <p:nvCxnSpPr>
          <p:cNvPr id="39" name="Gerader Verbinder 38">
            <a:extLst>
              <a:ext uri="{FF2B5EF4-FFF2-40B4-BE49-F238E27FC236}">
                <a16:creationId xmlns="" xmlns:a16="http://schemas.microsoft.com/office/drawing/2014/main" id="{CE3B141B-C46D-4F22-88B4-E8C3A5F41AA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426903" y="3856439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="" xmlns:a16="http://schemas.microsoft.com/office/drawing/2014/main" id="{89B35800-A159-43D9-8C30-7A29675BF70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651726" y="38592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="" xmlns:a16="http://schemas.microsoft.com/office/drawing/2014/main" id="{629ED30D-435E-4519-84E3-50C2E7D5F20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91763" y="38592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="" xmlns:a16="http://schemas.microsoft.com/office/drawing/2014/main" id="{5E5723F9-04A5-4CB5-B7A9-1DB5420C2B2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426903" y="12684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="" xmlns:a16="http://schemas.microsoft.com/office/drawing/2014/main" id="{34D836E2-70CD-4B54-804B-C05B715050A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651726" y="12684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="" xmlns:a16="http://schemas.microsoft.com/office/drawing/2014/main" id="{F0806BD0-31DF-4E02-B0A1-5F4F582683B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91763" y="1268413"/>
            <a:ext cx="0" cy="432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3F3771B9-DBBC-4455-AE93-B15316C861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8888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9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3C7ACFEC-F41B-47D1-933D-1FF91BDF466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="" xmlns:a16="http://schemas.microsoft.com/office/drawing/2014/main" id="{53B0C0D0-8449-400E-BD85-F421255DA95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A5D4D62-1034-4EA9-BFBA-C08D895FEE1F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E4CE0ECD-5F8E-48E1-BC19-B818383B25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48E7CED3-DE86-4867-90E9-D86F12EC7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="" xmlns:a16="http://schemas.microsoft.com/office/drawing/2014/main" id="{1A62AD02-A04C-4CED-B9F6-A65B82548F7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="" xmlns:a16="http://schemas.microsoft.com/office/drawing/2014/main" id="{590950E3-BA73-4F84-BC4A-B016DE91D84F}"/>
              </a:ext>
            </a:extLst>
          </p:cNvPr>
          <p:cNvSpPr>
            <a:spLocks noGrp="1"/>
          </p:cNvSpPr>
          <p:nvPr>
            <p:ph type="subTitle" idx="13"/>
          </p:nvPr>
        </p:nvSpPr>
        <p:spPr bwMode="gray">
          <a:xfrm>
            <a:off x="1011598" y="1268413"/>
            <a:ext cx="3060000" cy="432000"/>
          </a:xfrm>
          <a:noFill/>
        </p:spPr>
        <p:txBody>
          <a:bodyPr lIns="0" anchor="ctr"/>
          <a:lstStyle>
            <a:lvl1pPr marL="0" indent="0" algn="l">
              <a:spcAft>
                <a:spcPts val="600"/>
              </a:spcAft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 algn="l"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 algn="l"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 algn="l"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 algn="l"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 algn="l"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 algn="l"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 algn="l"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 algn="l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="" xmlns:a16="http://schemas.microsoft.com/office/drawing/2014/main" id="{E32DAB4A-72C5-4171-A21F-4AC940C642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766400" y="1386000"/>
            <a:ext cx="3060000" cy="201600"/>
          </a:xfrm>
          <a:noFill/>
        </p:spPr>
        <p:txBody>
          <a:bodyPr l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="" xmlns:a16="http://schemas.microsoft.com/office/drawing/2014/main" id="{153F9F1F-C723-4EAF-8DC0-82095B029C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8542800" y="1386000"/>
            <a:ext cx="3060000" cy="201600"/>
          </a:xfrm>
          <a:noFill/>
        </p:spPr>
        <p:txBody>
          <a:bodyPr l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8" name="Text Placeholder 14">
            <a:extLst>
              <a:ext uri="{FF2B5EF4-FFF2-40B4-BE49-F238E27FC236}">
                <a16:creationId xmlns="" xmlns:a16="http://schemas.microsoft.com/office/drawing/2014/main" id="{CC5EE651-0AEA-41F0-9B91-B8DDCB11F8A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1011598" y="3975900"/>
            <a:ext cx="3060000" cy="201600"/>
          </a:xfrm>
          <a:noFill/>
        </p:spPr>
        <p:txBody>
          <a:bodyPr l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="" xmlns:a16="http://schemas.microsoft.com/office/drawing/2014/main" id="{18A2D0AD-8A42-4E8E-A944-BF882079858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4766400" y="3975900"/>
            <a:ext cx="3060000" cy="201600"/>
          </a:xfrm>
          <a:noFill/>
        </p:spPr>
        <p:txBody>
          <a:bodyPr l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2" name="Text Placeholder 14">
            <a:extLst>
              <a:ext uri="{FF2B5EF4-FFF2-40B4-BE49-F238E27FC236}">
                <a16:creationId xmlns="" xmlns:a16="http://schemas.microsoft.com/office/drawing/2014/main" id="{070CFB7F-592A-49BD-B0DE-8C702F4D25F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42800" y="3975900"/>
            <a:ext cx="3060000" cy="201600"/>
          </a:xfrm>
          <a:noFill/>
        </p:spPr>
        <p:txBody>
          <a:bodyPr l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cap="all" baseline="0">
                <a:solidFill>
                  <a:schemeClr val="bg1"/>
                </a:solidFill>
              </a:defRPr>
            </a:lvl8pPr>
            <a:lvl9pPr marL="0" indent="0">
              <a:buNone/>
              <a:defRPr sz="16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Text Placeholder 19">
            <a:extLst>
              <a:ext uri="{FF2B5EF4-FFF2-40B4-BE49-F238E27FC236}">
                <a16:creationId xmlns="" xmlns:a16="http://schemas.microsoft.com/office/drawing/2014/main" id="{62763C27-0DD0-42D2-91BB-9CAF2374419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4766400" y="1773239"/>
            <a:ext cx="3060000" cy="16557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5" name="Text Placeholder 19">
            <a:extLst>
              <a:ext uri="{FF2B5EF4-FFF2-40B4-BE49-F238E27FC236}">
                <a16:creationId xmlns="" xmlns:a16="http://schemas.microsoft.com/office/drawing/2014/main" id="{416D2425-A9F6-4002-A14E-8DF9AFC3014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1011598" y="1773239"/>
            <a:ext cx="3049200" cy="16557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6" name="Text Placeholder 19">
            <a:extLst>
              <a:ext uri="{FF2B5EF4-FFF2-40B4-BE49-F238E27FC236}">
                <a16:creationId xmlns="" xmlns:a16="http://schemas.microsoft.com/office/drawing/2014/main" id="{2B92BDD1-F971-4514-BC1D-146BFAC6881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8542800" y="1773239"/>
            <a:ext cx="3060000" cy="16557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7" name="Text Placeholder 19">
            <a:extLst>
              <a:ext uri="{FF2B5EF4-FFF2-40B4-BE49-F238E27FC236}">
                <a16:creationId xmlns="" xmlns:a16="http://schemas.microsoft.com/office/drawing/2014/main" id="{63ED0430-8B61-44C7-9E11-4B1C03CB449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4766400" y="4365627"/>
            <a:ext cx="3060000" cy="16557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8" name="Text Placeholder 19">
            <a:extLst>
              <a:ext uri="{FF2B5EF4-FFF2-40B4-BE49-F238E27FC236}">
                <a16:creationId xmlns="" xmlns:a16="http://schemas.microsoft.com/office/drawing/2014/main" id="{311EEAD7-0B95-4D65-B783-8B9894A3D61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1011598" y="4365627"/>
            <a:ext cx="3049200" cy="16557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9" name="Text Placeholder 19">
            <a:extLst>
              <a:ext uri="{FF2B5EF4-FFF2-40B4-BE49-F238E27FC236}">
                <a16:creationId xmlns="" xmlns:a16="http://schemas.microsoft.com/office/drawing/2014/main" id="{DC42657B-DEC1-40EA-BFD1-197684518B5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8542800" y="4365627"/>
            <a:ext cx="3060000" cy="16557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0" name="Text Placeholder 16">
            <a:extLst>
              <a:ext uri="{FF2B5EF4-FFF2-40B4-BE49-F238E27FC236}">
                <a16:creationId xmlns="" xmlns:a16="http://schemas.microsoft.com/office/drawing/2014/main" id="{48A4557E-B66C-4141-8CCE-EED4941B434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 bwMode="gray">
          <a:xfrm>
            <a:off x="586800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400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pos="2741" userDrawn="1">
          <p15:clr>
            <a:srgbClr val="FBAE40"/>
          </p15:clr>
        </p15:guide>
        <p15:guide id="2" pos="2558" userDrawn="1">
          <p15:clr>
            <a:srgbClr val="FBAE40"/>
          </p15:clr>
        </p15:guide>
        <p15:guide id="3" pos="4931" userDrawn="1">
          <p15:clr>
            <a:srgbClr val="FBAE40"/>
          </p15:clr>
        </p15:guide>
        <p15:guide id="4" pos="5120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B9FB5B8C-64A7-416C-A7F7-8A3D4DC03E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8831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32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BD662081-1672-45DC-9684-CEECEFE8E27F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4CCE5476-60EA-4A2C-AE03-469AAF4B215D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F185451-36F3-4A7D-8D7A-16659D1D12A7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DF4E9BA6-9407-471E-8BE0-3C644DED8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D560EEBD-8A3A-4045-A507-02F35C8CE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Bildplatzhalter 8">
            <a:extLst>
              <a:ext uri="{FF2B5EF4-FFF2-40B4-BE49-F238E27FC236}">
                <a16:creationId xmlns="" xmlns:a16="http://schemas.microsoft.com/office/drawing/2014/main" id="{E8A4A318-CAEC-4BB4-8A85-9ACED79578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1268413"/>
            <a:ext cx="11604624" cy="4752975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4F0091C6-A9B6-4F38-B0C2-F9D6981A4A5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="" xmlns:a16="http://schemas.microsoft.com/office/drawing/2014/main" id="{19B2515E-9767-492C-888B-31127E11E6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6800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8662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1F953492-9FA8-4BD3-9CA1-0E3DC8888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8814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56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57438530-DB46-46B0-B9A9-F4594ABB5171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4CCE5476-60EA-4A2C-AE03-469AAF4B215D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72FE6B4-4D47-4528-90D2-841607C5A780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DF4E9BA6-9407-471E-8BE0-3C644DED8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D560EEBD-8A3A-4045-A507-02F35C8CE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Bildplatzhalter 8">
            <a:extLst>
              <a:ext uri="{FF2B5EF4-FFF2-40B4-BE49-F238E27FC236}">
                <a16:creationId xmlns="" xmlns:a16="http://schemas.microsoft.com/office/drawing/2014/main" id="{E8A4A318-CAEC-4BB4-8A85-9ACED79578F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1268413"/>
            <a:ext cx="5951538" cy="4752975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Bildplatzhalter 8">
            <a:extLst>
              <a:ext uri="{FF2B5EF4-FFF2-40B4-BE49-F238E27FC236}">
                <a16:creationId xmlns="" xmlns:a16="http://schemas.microsoft.com/office/drawing/2014/main" id="{9AB97697-39C6-4604-AD1D-F6289FC4FC4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240463" y="1268413"/>
            <a:ext cx="5364162" cy="4752975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A685AE4-8CA3-4E4D-826C-B3C2629E8D1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="" xmlns:a16="http://schemas.microsoft.com/office/drawing/2014/main" id="{4B4357CA-A7E4-4B21-81C7-CA9B6FDA55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6800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960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highligh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="" xmlns:a16="http://schemas.microsoft.com/office/drawing/2014/main" id="{EFA0BCE3-2006-4FEA-94A2-BC4938E4E031}"/>
              </a:ext>
            </a:extLst>
          </p:cNvPr>
          <p:cNvSpPr/>
          <p:nvPr userDrawn="1"/>
        </p:nvSpPr>
        <p:spPr bwMode="gray">
          <a:xfrm>
            <a:off x="6249515" y="1268413"/>
            <a:ext cx="5951538" cy="47529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BBD376F3-0998-4047-A4AD-982F7544C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7948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81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FA5DA7C6-7C4F-488A-845A-92B71EA3CBF4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="" xmlns:a16="http://schemas.microsoft.com/office/drawing/2014/main" id="{A9B4A3D6-B25C-4747-A526-917B5D7086C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9006383-8A58-4CB1-A8CE-27C4955B8677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="" xmlns:a16="http://schemas.microsoft.com/office/drawing/2014/main" id="{5E4E9603-2CEA-408D-8511-A392869E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492199F7-9FE9-45EA-8AB0-2F8E87D93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noProof="0"/>
              <a:t>  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Bildplatzhalter 8">
            <a:extLst>
              <a:ext uri="{FF2B5EF4-FFF2-40B4-BE49-F238E27FC236}">
                <a16:creationId xmlns="" xmlns:a16="http://schemas.microsoft.com/office/drawing/2014/main" id="{7559C7B3-D23C-4AF8-9346-8A960C8B60F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0" y="1268413"/>
            <a:ext cx="5951538" cy="4752975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A6448F78-83AD-4542-B97F-776CE08BC52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2" name="Text Placeholder 17">
            <a:extLst>
              <a:ext uri="{FF2B5EF4-FFF2-40B4-BE49-F238E27FC236}">
                <a16:creationId xmlns="" xmlns:a16="http://schemas.microsoft.com/office/drawing/2014/main" id="{17440445-86FC-43EA-8E03-CC1EF34D7C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852285" y="2847600"/>
            <a:ext cx="4742715" cy="3175200"/>
          </a:xfrm>
          <a:noFill/>
        </p:spPr>
        <p:txBody>
          <a:bodyPr lIns="0" tIns="0"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 marL="979488" indent="-171450">
              <a:buClr>
                <a:schemeClr val="bg1"/>
              </a:buClr>
              <a:buFont typeface="Verdana" panose="020B0604030504040204" pitchFamily="34" charset="0"/>
              <a:buChar char="–"/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="" xmlns:a16="http://schemas.microsoft.com/office/drawing/2014/main" id="{2FB7E0EA-F8A7-4569-9E26-07CD0C77B22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867526" y="1906587"/>
            <a:ext cx="4727474" cy="574114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b="1" i="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="" xmlns:a16="http://schemas.microsoft.com/office/drawing/2014/main" id="{9FA7C4CB-F8C8-4EDD-918E-1863CA51AD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6800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="" xmlns:a16="http://schemas.microsoft.com/office/drawing/2014/main" id="{2D47FEA7-4697-4F85-9EE4-925C308E0D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899106" y="1268413"/>
            <a:ext cx="0" cy="475297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33708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and highligh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="" xmlns:a16="http://schemas.microsoft.com/office/drawing/2014/main" id="{902687FE-79B8-4F64-A772-AEB090B11E24}"/>
              </a:ext>
            </a:extLst>
          </p:cNvPr>
          <p:cNvSpPr/>
          <p:nvPr userDrawn="1"/>
        </p:nvSpPr>
        <p:spPr bwMode="gray">
          <a:xfrm>
            <a:off x="6249515" y="1268413"/>
            <a:ext cx="5951538" cy="47529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3953E23A-82EF-463F-8121-940D7A93D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2863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06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5EC569EB-9CD2-4002-8388-7AB0DD8CADDF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Text Placeholder 17">
            <a:extLst>
              <a:ext uri="{FF2B5EF4-FFF2-40B4-BE49-F238E27FC236}">
                <a16:creationId xmlns="" xmlns:a16="http://schemas.microsoft.com/office/drawing/2014/main" id="{5EA4871F-7CF0-4287-A2EC-4675A6713D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6850800" y="2847600"/>
            <a:ext cx="4741200" cy="3175200"/>
          </a:xfrm>
          <a:noFill/>
        </p:spPr>
        <p:txBody>
          <a:bodyPr lIns="0" tIns="0"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 marL="979488" indent="-171450">
              <a:buClr>
                <a:schemeClr val="bg1"/>
              </a:buClr>
              <a:buFont typeface="Verdana" panose="020B0604030504040204" pitchFamily="34" charset="0"/>
              <a:buChar char="–"/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="" xmlns:a16="http://schemas.microsoft.com/office/drawing/2014/main" id="{7559C7B3-D23C-4AF8-9346-8A960C8B60F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0" y="1268415"/>
            <a:ext cx="2904158" cy="2307600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Bildplatzhalter 3">
            <a:extLst>
              <a:ext uri="{FF2B5EF4-FFF2-40B4-BE49-F238E27FC236}">
                <a16:creationId xmlns="" xmlns:a16="http://schemas.microsoft.com/office/drawing/2014/main" id="{805DAAD4-D6EF-482A-A5E7-DB5FEC556B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048000" y="1268415"/>
            <a:ext cx="2903538" cy="2307600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6" name="Bildplatzhalter 15">
            <a:extLst>
              <a:ext uri="{FF2B5EF4-FFF2-40B4-BE49-F238E27FC236}">
                <a16:creationId xmlns="" xmlns:a16="http://schemas.microsoft.com/office/drawing/2014/main" id="{F41A156D-5A46-4CF9-B614-7A98F30C181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0" y="3713789"/>
            <a:ext cx="2903538" cy="2307600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8" name="Bildplatzhalter 17">
            <a:extLst>
              <a:ext uri="{FF2B5EF4-FFF2-40B4-BE49-F238E27FC236}">
                <a16:creationId xmlns="" xmlns:a16="http://schemas.microsoft.com/office/drawing/2014/main" id="{AA7506A8-4D4C-4BC4-8C92-CA85B344D1D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6413" y="3713789"/>
            <a:ext cx="2905125" cy="2307600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5" name="Datumsplatzhalter 4">
            <a:extLst>
              <a:ext uri="{FF2B5EF4-FFF2-40B4-BE49-F238E27FC236}">
                <a16:creationId xmlns="" xmlns:a16="http://schemas.microsoft.com/office/drawing/2014/main" id="{A9B4A3D6-B25C-4747-A526-917B5D7086C1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 bwMode="gray"/>
        <p:txBody>
          <a:bodyPr/>
          <a:lstStyle/>
          <a:p>
            <a:fld id="{45AC8C25-5661-48E5-8665-1640B6027E80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="" xmlns:a16="http://schemas.microsoft.com/office/drawing/2014/main" id="{5E4E9603-2CEA-408D-8511-A392869E5168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492199F7-9FE9-45EA-8AB0-2F8E87D93D72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gray"/>
        <p:txBody>
          <a:bodyPr/>
          <a:lstStyle/>
          <a:p>
            <a:r>
              <a:rPr lang="en-US" noProof="0"/>
              <a:t>  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0F0778AA-FA0E-4DA1-B1EC-CD1657FBD2D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="" xmlns:a16="http://schemas.microsoft.com/office/drawing/2014/main" id="{E91D6566-935C-4B41-A262-2330D4D8C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6800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="" xmlns:a16="http://schemas.microsoft.com/office/drawing/2014/main" id="{81F98759-9132-40BD-87FB-340F083B23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867525" y="1906587"/>
            <a:ext cx="4741200" cy="574114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b="1" i="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="" xmlns:a16="http://schemas.microsoft.com/office/drawing/2014/main" id="{FA0282AA-DC5A-480B-A3CD-C9D1D482EA1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899106" y="1268413"/>
            <a:ext cx="0" cy="475297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06841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2BA04BDD-4597-446A-A90F-4C9B2010481D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D563FD2-DD58-44EE-AD0E-DE28B67F9A30}" type="datetime1">
              <a:rPr lang="en-US" noProof="0" smtClean="0"/>
              <a:t>4/29/2020</a:t>
            </a:fld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FE8FD28-4D9B-44FE-9EFE-E02F28A76F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4BA3F832-230E-4DC0-AA15-C23788B95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noProof="0" dirty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5" name="Gerader Verbinder 4">
            <a:extLst>
              <a:ext uri="{FF2B5EF4-FFF2-40B4-BE49-F238E27FC236}">
                <a16:creationId xmlns="" xmlns:a16="http://schemas.microsoft.com/office/drawing/2014/main" id="{87029E78-A4E4-4F45-A9F7-44FE2DDB57B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573200" y="6530344"/>
            <a:ext cx="10616400" cy="0"/>
          </a:xfrm>
          <a:prstGeom prst="line">
            <a:avLst/>
          </a:prstGeom>
          <a:noFill/>
          <a:ln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" name="Gruppieren 5">
            <a:extLst>
              <a:ext uri="{FF2B5EF4-FFF2-40B4-BE49-F238E27FC236}">
                <a16:creationId xmlns="" xmlns:a16="http://schemas.microsoft.com/office/drawing/2014/main" id="{7BCB0C3A-7A87-4415-AFB9-F5C477A39B0A}"/>
              </a:ext>
            </a:extLst>
          </p:cNvPr>
          <p:cNvGrpSpPr/>
          <p:nvPr userDrawn="1"/>
        </p:nvGrpSpPr>
        <p:grpSpPr bwMode="gray">
          <a:xfrm>
            <a:off x="597600" y="6450463"/>
            <a:ext cx="1071249" cy="235378"/>
            <a:chOff x="364785" y="474234"/>
            <a:chExt cx="1720030" cy="377928"/>
          </a:xfrm>
          <a:solidFill>
            <a:schemeClr val="tx2"/>
          </a:solidFill>
        </p:grpSpPr>
        <p:sp>
          <p:nvSpPr>
            <p:cNvPr id="7" name="Freihandform: Form 6">
              <a:extLst>
                <a:ext uri="{FF2B5EF4-FFF2-40B4-BE49-F238E27FC236}">
                  <a16:creationId xmlns="" xmlns:a16="http://schemas.microsoft.com/office/drawing/2014/main" id="{5F7695AE-054E-4AA8-A695-26839F7833E7}"/>
                </a:ext>
              </a:extLst>
            </p:cNvPr>
            <p:cNvSpPr/>
            <p:nvPr/>
          </p:nvSpPr>
          <p:spPr bwMode="gray">
            <a:xfrm>
              <a:off x="364785" y="474234"/>
              <a:ext cx="479323" cy="129049"/>
            </a:xfrm>
            <a:custGeom>
              <a:avLst/>
              <a:gdLst>
                <a:gd name="connsiteX0" fmla="*/ 241743 w 479322"/>
                <a:gd name="connsiteY0" fmla="*/ 47248 h 129048"/>
                <a:gd name="connsiteX1" fmla="*/ 6690 w 479322"/>
                <a:gd name="connsiteY1" fmla="*/ 6690 h 129048"/>
                <a:gd name="connsiteX2" fmla="*/ 55544 w 479322"/>
                <a:gd name="connsiteY2" fmla="*/ 85963 h 129048"/>
                <a:gd name="connsiteX3" fmla="*/ 241743 w 479322"/>
                <a:gd name="connsiteY3" fmla="*/ 126521 h 129048"/>
                <a:gd name="connsiteX4" fmla="*/ 427019 w 479322"/>
                <a:gd name="connsiteY4" fmla="*/ 85963 h 129048"/>
                <a:gd name="connsiteX5" fmla="*/ 475873 w 479322"/>
                <a:gd name="connsiteY5" fmla="*/ 669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322" h="129048">
                  <a:moveTo>
                    <a:pt x="241743" y="47248"/>
                  </a:moveTo>
                  <a:lnTo>
                    <a:pt x="6690" y="6690"/>
                  </a:lnTo>
                  <a:lnTo>
                    <a:pt x="55544" y="85963"/>
                  </a:lnTo>
                  <a:lnTo>
                    <a:pt x="241743" y="126521"/>
                  </a:lnTo>
                  <a:lnTo>
                    <a:pt x="427019" y="85963"/>
                  </a:lnTo>
                  <a:lnTo>
                    <a:pt x="475873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="" xmlns:a16="http://schemas.microsoft.com/office/drawing/2014/main" id="{782B4E75-B345-44F4-AAE8-D287AB68E80C}"/>
                </a:ext>
              </a:extLst>
            </p:cNvPr>
            <p:cNvSpPr/>
            <p:nvPr/>
          </p:nvSpPr>
          <p:spPr bwMode="gray">
            <a:xfrm>
              <a:off x="549140" y="759984"/>
              <a:ext cx="110613" cy="92178"/>
            </a:xfrm>
            <a:custGeom>
              <a:avLst/>
              <a:gdLst>
                <a:gd name="connsiteX0" fmla="*/ 57388 w 110612"/>
                <a:gd name="connsiteY0" fmla="*/ 87806 h 92177"/>
                <a:gd name="connsiteX1" fmla="*/ 107164 w 110612"/>
                <a:gd name="connsiteY1" fmla="*/ 6690 h 92177"/>
                <a:gd name="connsiteX2" fmla="*/ 57388 w 110612"/>
                <a:gd name="connsiteY2" fmla="*/ 20517 h 92177"/>
                <a:gd name="connsiteX3" fmla="*/ 6690 w 110612"/>
                <a:gd name="connsiteY3" fmla="*/ 6690 h 92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612" h="92177">
                  <a:moveTo>
                    <a:pt x="57388" y="87806"/>
                  </a:moveTo>
                  <a:lnTo>
                    <a:pt x="107164" y="6690"/>
                  </a:lnTo>
                  <a:lnTo>
                    <a:pt x="57388" y="20517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="" xmlns:a16="http://schemas.microsoft.com/office/drawing/2014/main" id="{CF9C7B40-6C03-4178-8AE6-C297E5A4DC1F}"/>
                </a:ext>
              </a:extLst>
            </p:cNvPr>
            <p:cNvSpPr/>
            <p:nvPr/>
          </p:nvSpPr>
          <p:spPr bwMode="gray">
            <a:xfrm>
              <a:off x="456962" y="625405"/>
              <a:ext cx="294968" cy="101395"/>
            </a:xfrm>
            <a:custGeom>
              <a:avLst/>
              <a:gdLst>
                <a:gd name="connsiteX0" fmla="*/ 6690 w 294967"/>
                <a:gd name="connsiteY0" fmla="*/ 6690 h 101395"/>
                <a:gd name="connsiteX1" fmla="*/ 149565 w 294967"/>
                <a:gd name="connsiteY1" fmla="*/ 36187 h 101395"/>
                <a:gd name="connsiteX2" fmla="*/ 291519 w 294967"/>
                <a:gd name="connsiteY2" fmla="*/ 6690 h 101395"/>
                <a:gd name="connsiteX3" fmla="*/ 246352 w 294967"/>
                <a:gd name="connsiteY3" fmla="*/ 78589 h 101395"/>
                <a:gd name="connsiteX4" fmla="*/ 149565 w 294967"/>
                <a:gd name="connsiteY4" fmla="*/ 103477 h 101395"/>
                <a:gd name="connsiteX5" fmla="*/ 51857 w 294967"/>
                <a:gd name="connsiteY5" fmla="*/ 78589 h 10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967" h="101395">
                  <a:moveTo>
                    <a:pt x="6690" y="6690"/>
                  </a:moveTo>
                  <a:lnTo>
                    <a:pt x="149565" y="36187"/>
                  </a:lnTo>
                  <a:lnTo>
                    <a:pt x="291519" y="6690"/>
                  </a:lnTo>
                  <a:lnTo>
                    <a:pt x="246352" y="78589"/>
                  </a:lnTo>
                  <a:lnTo>
                    <a:pt x="149565" y="103477"/>
                  </a:lnTo>
                  <a:lnTo>
                    <a:pt x="51857" y="7858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="" xmlns:a16="http://schemas.microsoft.com/office/drawing/2014/main" id="{11952F47-453F-45E4-89C5-BE43877E149C}"/>
                </a:ext>
              </a:extLst>
            </p:cNvPr>
            <p:cNvSpPr/>
            <p:nvPr/>
          </p:nvSpPr>
          <p:spPr bwMode="gray">
            <a:xfrm>
              <a:off x="1992638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EE332569-FFA2-4D38-A837-1322ACD2202D}"/>
                </a:ext>
              </a:extLst>
            </p:cNvPr>
            <p:cNvSpPr/>
            <p:nvPr/>
          </p:nvSpPr>
          <p:spPr bwMode="gray">
            <a:xfrm>
              <a:off x="921536" y="714817"/>
              <a:ext cx="119831" cy="129049"/>
            </a:xfrm>
            <a:custGeom>
              <a:avLst/>
              <a:gdLst>
                <a:gd name="connsiteX0" fmla="*/ 90572 w 119830"/>
                <a:gd name="connsiteY0" fmla="*/ 119147 h 129048"/>
                <a:gd name="connsiteX1" fmla="*/ 90572 w 119830"/>
                <a:gd name="connsiteY1" fmla="*/ 61997 h 129048"/>
                <a:gd name="connsiteX2" fmla="*/ 61997 w 119830"/>
                <a:gd name="connsiteY2" fmla="*/ 122834 h 129048"/>
                <a:gd name="connsiteX3" fmla="*/ 33422 w 119830"/>
                <a:gd name="connsiteY3" fmla="*/ 61997 h 129048"/>
                <a:gd name="connsiteX4" fmla="*/ 33422 w 119830"/>
                <a:gd name="connsiteY4" fmla="*/ 119147 h 129048"/>
                <a:gd name="connsiteX5" fmla="*/ 6690 w 119830"/>
                <a:gd name="connsiteY5" fmla="*/ 119147 h 129048"/>
                <a:gd name="connsiteX6" fmla="*/ 6690 w 119830"/>
                <a:gd name="connsiteY6" fmla="*/ 6690 h 129048"/>
                <a:gd name="connsiteX7" fmla="*/ 33422 w 119830"/>
                <a:gd name="connsiteY7" fmla="*/ 6690 h 129048"/>
                <a:gd name="connsiteX8" fmla="*/ 61997 w 119830"/>
                <a:gd name="connsiteY8" fmla="*/ 69371 h 129048"/>
                <a:gd name="connsiteX9" fmla="*/ 90572 w 119830"/>
                <a:gd name="connsiteY9" fmla="*/ 6690 h 129048"/>
                <a:gd name="connsiteX10" fmla="*/ 117303 w 119830"/>
                <a:gd name="connsiteY10" fmla="*/ 6690 h 129048"/>
                <a:gd name="connsiteX11" fmla="*/ 117303 w 119830"/>
                <a:gd name="connsiteY11" fmla="*/ 119147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830" h="129048">
                  <a:moveTo>
                    <a:pt x="90572" y="119147"/>
                  </a:moveTo>
                  <a:lnTo>
                    <a:pt x="90572" y="61997"/>
                  </a:lnTo>
                  <a:lnTo>
                    <a:pt x="61997" y="122834"/>
                  </a:lnTo>
                  <a:lnTo>
                    <a:pt x="33422" y="61997"/>
                  </a:lnTo>
                  <a:lnTo>
                    <a:pt x="33422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33422" y="6690"/>
                  </a:lnTo>
                  <a:lnTo>
                    <a:pt x="61997" y="69371"/>
                  </a:lnTo>
                  <a:lnTo>
                    <a:pt x="90572" y="6690"/>
                  </a:lnTo>
                  <a:lnTo>
                    <a:pt x="117303" y="6690"/>
                  </a:lnTo>
                  <a:lnTo>
                    <a:pt x="117303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="" xmlns:a16="http://schemas.microsoft.com/office/drawing/2014/main" id="{D1167738-EF93-447B-A319-D8BB5B5760C6}"/>
                </a:ext>
              </a:extLst>
            </p:cNvPr>
            <p:cNvSpPr/>
            <p:nvPr/>
          </p:nvSpPr>
          <p:spPr bwMode="gray">
            <a:xfrm>
              <a:off x="1154745" y="714817"/>
              <a:ext cx="101395" cy="119831"/>
            </a:xfrm>
            <a:custGeom>
              <a:avLst/>
              <a:gdLst>
                <a:gd name="connsiteX0" fmla="*/ 44483 w 101395"/>
                <a:gd name="connsiteY0" fmla="*/ 31578 h 119830"/>
                <a:gd name="connsiteX1" fmla="*/ 35265 w 101395"/>
                <a:gd name="connsiteY1" fmla="*/ 31578 h 119830"/>
                <a:gd name="connsiteX2" fmla="*/ 35265 w 101395"/>
                <a:gd name="connsiteY2" fmla="*/ 94259 h 119830"/>
                <a:gd name="connsiteX3" fmla="*/ 43561 w 101395"/>
                <a:gd name="connsiteY3" fmla="*/ 94259 h 119830"/>
                <a:gd name="connsiteX4" fmla="*/ 73058 w 101395"/>
                <a:gd name="connsiteY4" fmla="*/ 62919 h 119830"/>
                <a:gd name="connsiteX5" fmla="*/ 44483 w 101395"/>
                <a:gd name="connsiteY5" fmla="*/ 31578 h 119830"/>
                <a:gd name="connsiteX6" fmla="*/ 42640 w 101395"/>
                <a:gd name="connsiteY6" fmla="*/ 119147 h 119830"/>
                <a:gd name="connsiteX7" fmla="*/ 6690 w 101395"/>
                <a:gd name="connsiteY7" fmla="*/ 119147 h 119830"/>
                <a:gd name="connsiteX8" fmla="*/ 6690 w 101395"/>
                <a:gd name="connsiteY8" fmla="*/ 6690 h 119830"/>
                <a:gd name="connsiteX9" fmla="*/ 44483 w 101395"/>
                <a:gd name="connsiteY9" fmla="*/ 6690 h 119830"/>
                <a:gd name="connsiteX10" fmla="*/ 101633 w 101395"/>
                <a:gd name="connsiteY10" fmla="*/ 62919 h 119830"/>
                <a:gd name="connsiteX11" fmla="*/ 42640 w 101395"/>
                <a:gd name="connsiteY11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395" h="119830">
                  <a:moveTo>
                    <a:pt x="44483" y="31578"/>
                  </a:moveTo>
                  <a:lnTo>
                    <a:pt x="35265" y="31578"/>
                  </a:lnTo>
                  <a:lnTo>
                    <a:pt x="35265" y="94259"/>
                  </a:lnTo>
                  <a:lnTo>
                    <a:pt x="43561" y="94259"/>
                  </a:lnTo>
                  <a:cubicBezTo>
                    <a:pt x="64762" y="94259"/>
                    <a:pt x="73058" y="85041"/>
                    <a:pt x="73058" y="62919"/>
                  </a:cubicBezTo>
                  <a:cubicBezTo>
                    <a:pt x="73058" y="40796"/>
                    <a:pt x="65684" y="31578"/>
                    <a:pt x="44483" y="31578"/>
                  </a:cubicBezTo>
                  <a:moveTo>
                    <a:pt x="42640" y="119147"/>
                  </a:moveTo>
                  <a:lnTo>
                    <a:pt x="6690" y="119147"/>
                  </a:lnTo>
                  <a:lnTo>
                    <a:pt x="6690" y="6690"/>
                  </a:lnTo>
                  <a:lnTo>
                    <a:pt x="44483" y="6690"/>
                  </a:lnTo>
                  <a:cubicBezTo>
                    <a:pt x="78589" y="6690"/>
                    <a:pt x="101633" y="20517"/>
                    <a:pt x="101633" y="62919"/>
                  </a:cubicBezTo>
                  <a:cubicBezTo>
                    <a:pt x="102555" y="103477"/>
                    <a:pt x="78589" y="119147"/>
                    <a:pt x="42640" y="119147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="" xmlns:a16="http://schemas.microsoft.com/office/drawing/2014/main" id="{1AADB99A-97F7-4833-849C-A6556089A273}"/>
                </a:ext>
              </a:extLst>
            </p:cNvPr>
            <p:cNvSpPr/>
            <p:nvPr/>
          </p:nvSpPr>
          <p:spPr bwMode="gray">
            <a:xfrm>
              <a:off x="1266280" y="714817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19147 h 119830"/>
                <a:gd name="connsiteX3" fmla="*/ 6690 w 36870"/>
                <a:gd name="connsiteY3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19147"/>
                  </a:lnTo>
                  <a:lnTo>
                    <a:pt x="6690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29F5D90C-11DF-452C-9454-9A4838AA01A0}"/>
                </a:ext>
              </a:extLst>
            </p:cNvPr>
            <p:cNvSpPr/>
            <p:nvPr/>
          </p:nvSpPr>
          <p:spPr bwMode="gray">
            <a:xfrm>
              <a:off x="1311447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6606" y="32500"/>
                    <a:pt x="71214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="" xmlns:a16="http://schemas.microsoft.com/office/drawing/2014/main" id="{107E1342-F304-4AB8-9576-EAFD2531233B}"/>
                </a:ext>
              </a:extLst>
            </p:cNvPr>
            <p:cNvSpPr/>
            <p:nvPr/>
          </p:nvSpPr>
          <p:spPr bwMode="gray">
            <a:xfrm>
              <a:off x="1407311" y="714817"/>
              <a:ext cx="119831" cy="119831"/>
            </a:xfrm>
            <a:custGeom>
              <a:avLst/>
              <a:gdLst>
                <a:gd name="connsiteX0" fmla="*/ 50935 w 119830"/>
                <a:gd name="connsiteY0" fmla="*/ 73980 h 119830"/>
                <a:gd name="connsiteX1" fmla="*/ 73058 w 119830"/>
                <a:gd name="connsiteY1" fmla="*/ 73980 h 119830"/>
                <a:gd name="connsiteX2" fmla="*/ 61997 w 119830"/>
                <a:gd name="connsiteY2" fmla="*/ 38031 h 119830"/>
                <a:gd name="connsiteX3" fmla="*/ 50935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935" y="73980"/>
                  </a:moveTo>
                  <a:lnTo>
                    <a:pt x="73058" y="73980"/>
                  </a:lnTo>
                  <a:lnTo>
                    <a:pt x="61997" y="38031"/>
                  </a:lnTo>
                  <a:lnTo>
                    <a:pt x="50935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="" xmlns:a16="http://schemas.microsoft.com/office/drawing/2014/main" id="{5C15F631-F049-4C10-A2B8-A35D3B27F8BE}"/>
                </a:ext>
              </a:extLst>
            </p:cNvPr>
            <p:cNvSpPr/>
            <p:nvPr/>
          </p:nvSpPr>
          <p:spPr bwMode="gray">
            <a:xfrm>
              <a:off x="1529907" y="714817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86885 w 92177"/>
                <a:gd name="connsiteY1" fmla="*/ 119147 h 119830"/>
                <a:gd name="connsiteX2" fmla="*/ 86885 w 92177"/>
                <a:gd name="connsiteY2" fmla="*/ 93337 h 119830"/>
                <a:gd name="connsiteX3" fmla="*/ 35265 w 92177"/>
                <a:gd name="connsiteY3" fmla="*/ 93337 h 119830"/>
                <a:gd name="connsiteX4" fmla="*/ 35265 w 92177"/>
                <a:gd name="connsiteY4" fmla="*/ 6690 h 119830"/>
                <a:gd name="connsiteX5" fmla="*/ 6690 w 92177"/>
                <a:gd name="connsiteY5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86885" y="119147"/>
                  </a:lnTo>
                  <a:lnTo>
                    <a:pt x="86885" y="93337"/>
                  </a:lnTo>
                  <a:lnTo>
                    <a:pt x="35265" y="93337"/>
                  </a:lnTo>
                  <a:lnTo>
                    <a:pt x="35265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="" xmlns:a16="http://schemas.microsoft.com/office/drawing/2014/main" id="{9868D170-5107-46C0-9333-A5729969D1A4}"/>
                </a:ext>
              </a:extLst>
            </p:cNvPr>
            <p:cNvSpPr/>
            <p:nvPr/>
          </p:nvSpPr>
          <p:spPr bwMode="gray">
            <a:xfrm>
              <a:off x="1663564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7527" y="32500"/>
                    <a:pt x="72136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="" xmlns:a16="http://schemas.microsoft.com/office/drawing/2014/main" id="{A4146863-2669-4D86-8E50-D62F9F1A3962}"/>
                </a:ext>
              </a:extLst>
            </p:cNvPr>
            <p:cNvSpPr/>
            <p:nvPr/>
          </p:nvSpPr>
          <p:spPr bwMode="gray">
            <a:xfrm>
              <a:off x="1760351" y="714817"/>
              <a:ext cx="119831" cy="119831"/>
            </a:xfrm>
            <a:custGeom>
              <a:avLst/>
              <a:gdLst>
                <a:gd name="connsiteX0" fmla="*/ 50014 w 119830"/>
                <a:gd name="connsiteY0" fmla="*/ 73980 h 119830"/>
                <a:gd name="connsiteX1" fmla="*/ 72136 w 119830"/>
                <a:gd name="connsiteY1" fmla="*/ 73980 h 119830"/>
                <a:gd name="connsiteX2" fmla="*/ 61075 w 119830"/>
                <a:gd name="connsiteY2" fmla="*/ 38031 h 119830"/>
                <a:gd name="connsiteX3" fmla="*/ 50014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014" y="73980"/>
                  </a:moveTo>
                  <a:lnTo>
                    <a:pt x="72136" y="73980"/>
                  </a:lnTo>
                  <a:lnTo>
                    <a:pt x="61075" y="38031"/>
                  </a:lnTo>
                  <a:lnTo>
                    <a:pt x="50014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="" xmlns:a16="http://schemas.microsoft.com/office/drawing/2014/main" id="{61223EF1-2420-4DDF-8614-C4284020A113}"/>
                </a:ext>
              </a:extLst>
            </p:cNvPr>
            <p:cNvSpPr/>
            <p:nvPr/>
          </p:nvSpPr>
          <p:spPr bwMode="gray">
            <a:xfrm>
              <a:off x="1882947" y="714817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1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1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="" xmlns:a16="http://schemas.microsoft.com/office/drawing/2014/main" id="{E322ED38-27C0-4FC9-8880-2D694FCC0578}"/>
                </a:ext>
              </a:extLst>
            </p:cNvPr>
            <p:cNvSpPr/>
            <p:nvPr/>
          </p:nvSpPr>
          <p:spPr bwMode="gray">
            <a:xfrm>
              <a:off x="1054272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="" xmlns:a16="http://schemas.microsoft.com/office/drawing/2014/main" id="{9B812C18-C47C-43E4-BBEF-0D3538B12D9A}"/>
                </a:ext>
              </a:extLst>
            </p:cNvPr>
            <p:cNvSpPr/>
            <p:nvPr/>
          </p:nvSpPr>
          <p:spPr bwMode="gray">
            <a:xfrm>
              <a:off x="1695827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90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1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90" y="111773"/>
                    <a:pt x="99790" y="87807"/>
                  </a:cubicBezTo>
                  <a:cubicBezTo>
                    <a:pt x="99790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1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="" xmlns:a16="http://schemas.microsoft.com/office/drawing/2014/main" id="{ECAB8648-8DF3-4DE8-B5EB-249A41A0BD96}"/>
                </a:ext>
              </a:extLst>
            </p:cNvPr>
            <p:cNvSpPr/>
            <p:nvPr/>
          </p:nvSpPr>
          <p:spPr bwMode="gray">
            <a:xfrm>
              <a:off x="921536" y="545210"/>
              <a:ext cx="92177" cy="119831"/>
            </a:xfrm>
            <a:custGeom>
              <a:avLst/>
              <a:gdLst>
                <a:gd name="connsiteX0" fmla="*/ 35265 w 92177"/>
                <a:gd name="connsiteY0" fmla="*/ 31578 h 119830"/>
                <a:gd name="connsiteX1" fmla="*/ 35265 w 92177"/>
                <a:gd name="connsiteY1" fmla="*/ 49092 h 119830"/>
                <a:gd name="connsiteX2" fmla="*/ 74902 w 92177"/>
                <a:gd name="connsiteY2" fmla="*/ 49092 h 119830"/>
                <a:gd name="connsiteX3" fmla="*/ 74902 w 92177"/>
                <a:gd name="connsiteY3" fmla="*/ 73980 h 119830"/>
                <a:gd name="connsiteX4" fmla="*/ 35265 w 92177"/>
                <a:gd name="connsiteY4" fmla="*/ 73980 h 119830"/>
                <a:gd name="connsiteX5" fmla="*/ 35265 w 92177"/>
                <a:gd name="connsiteY5" fmla="*/ 119147 h 119830"/>
                <a:gd name="connsiteX6" fmla="*/ 6690 w 92177"/>
                <a:gd name="connsiteY6" fmla="*/ 119147 h 119830"/>
                <a:gd name="connsiteX7" fmla="*/ 6690 w 92177"/>
                <a:gd name="connsiteY7" fmla="*/ 6690 h 119830"/>
                <a:gd name="connsiteX8" fmla="*/ 90572 w 92177"/>
                <a:gd name="connsiteY8" fmla="*/ 6690 h 119830"/>
                <a:gd name="connsiteX9" fmla="*/ 90572 w 92177"/>
                <a:gd name="connsiteY9" fmla="*/ 31578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177" h="119830">
                  <a:moveTo>
                    <a:pt x="35265" y="31578"/>
                  </a:moveTo>
                  <a:lnTo>
                    <a:pt x="35265" y="49092"/>
                  </a:lnTo>
                  <a:lnTo>
                    <a:pt x="74902" y="49092"/>
                  </a:lnTo>
                  <a:lnTo>
                    <a:pt x="74902" y="73980"/>
                  </a:lnTo>
                  <a:lnTo>
                    <a:pt x="35265" y="73980"/>
                  </a:lnTo>
                  <a:lnTo>
                    <a:pt x="35265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90572" y="6690"/>
                  </a:lnTo>
                  <a:lnTo>
                    <a:pt x="90572" y="31578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="" xmlns:a16="http://schemas.microsoft.com/office/drawing/2014/main" id="{C30F63C4-C356-4205-A275-864DB7898E3E}"/>
                </a:ext>
              </a:extLst>
            </p:cNvPr>
            <p:cNvSpPr/>
            <p:nvPr/>
          </p:nvSpPr>
          <p:spPr bwMode="gray">
            <a:xfrm>
              <a:off x="1017401" y="545210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0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0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="" xmlns:a16="http://schemas.microsoft.com/office/drawing/2014/main" id="{7E42C2F7-F760-4140-B27B-5CF07D5F484D}"/>
                </a:ext>
              </a:extLst>
            </p:cNvPr>
            <p:cNvSpPr/>
            <p:nvPr/>
          </p:nvSpPr>
          <p:spPr bwMode="gray">
            <a:xfrm>
              <a:off x="1127092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1494 w 92177"/>
                <a:gd name="connsiteY1" fmla="*/ 119147 h 119830"/>
                <a:gd name="connsiteX2" fmla="*/ 91494 w 92177"/>
                <a:gd name="connsiteY2" fmla="*/ 94259 h 119830"/>
                <a:gd name="connsiteX3" fmla="*/ 34344 w 92177"/>
                <a:gd name="connsiteY3" fmla="*/ 94259 h 119830"/>
                <a:gd name="connsiteX4" fmla="*/ 34344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4344 w 92177"/>
                <a:gd name="connsiteY7" fmla="*/ 48170 h 119830"/>
                <a:gd name="connsiteX8" fmla="*/ 34344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1494" y="119147"/>
                  </a:lnTo>
                  <a:lnTo>
                    <a:pt x="91494" y="94259"/>
                  </a:lnTo>
                  <a:lnTo>
                    <a:pt x="34344" y="94259"/>
                  </a:lnTo>
                  <a:lnTo>
                    <a:pt x="34344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4344" y="48170"/>
                  </a:lnTo>
                  <a:lnTo>
                    <a:pt x="34344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="" xmlns:a16="http://schemas.microsoft.com/office/drawing/2014/main" id="{D4662DD0-1131-4002-85AF-7163A7729B5D}"/>
                </a:ext>
              </a:extLst>
            </p:cNvPr>
            <p:cNvSpPr/>
            <p:nvPr/>
          </p:nvSpPr>
          <p:spPr bwMode="gray">
            <a:xfrm>
              <a:off x="1217426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89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0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89" y="111773"/>
                    <a:pt x="99789" y="87807"/>
                  </a:cubicBezTo>
                  <a:cubicBezTo>
                    <a:pt x="99789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0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="" xmlns:a16="http://schemas.microsoft.com/office/drawing/2014/main" id="{C0232B40-B0E2-479D-A3C8-E22E43017008}"/>
                </a:ext>
              </a:extLst>
            </p:cNvPr>
            <p:cNvSpPr/>
            <p:nvPr/>
          </p:nvSpPr>
          <p:spPr bwMode="gray">
            <a:xfrm>
              <a:off x="1325273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2415 w 92177"/>
                <a:gd name="connsiteY1" fmla="*/ 119147 h 119830"/>
                <a:gd name="connsiteX2" fmla="*/ 92415 w 92177"/>
                <a:gd name="connsiteY2" fmla="*/ 94259 h 119830"/>
                <a:gd name="connsiteX3" fmla="*/ 35265 w 92177"/>
                <a:gd name="connsiteY3" fmla="*/ 94259 h 119830"/>
                <a:gd name="connsiteX4" fmla="*/ 35265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8728 w 92177"/>
                <a:gd name="connsiteY9" fmla="*/ 31578 h 119830"/>
                <a:gd name="connsiteX10" fmla="*/ 88728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2415" y="119147"/>
                  </a:lnTo>
                  <a:lnTo>
                    <a:pt x="92415" y="94259"/>
                  </a:lnTo>
                  <a:lnTo>
                    <a:pt x="35265" y="94259"/>
                  </a:lnTo>
                  <a:lnTo>
                    <a:pt x="35265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8728" y="31578"/>
                  </a:lnTo>
                  <a:lnTo>
                    <a:pt x="88728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="" xmlns:a16="http://schemas.microsoft.com/office/drawing/2014/main" id="{78FE112D-4C43-4985-A5F0-2F64A4949D01}"/>
                </a:ext>
              </a:extLst>
            </p:cNvPr>
            <p:cNvSpPr/>
            <p:nvPr/>
          </p:nvSpPr>
          <p:spPr bwMode="gray">
            <a:xfrm>
              <a:off x="1424825" y="545210"/>
              <a:ext cx="101395" cy="119831"/>
            </a:xfrm>
            <a:custGeom>
              <a:avLst/>
              <a:gdLst>
                <a:gd name="connsiteX0" fmla="*/ 79510 w 101395"/>
                <a:gd name="connsiteY0" fmla="*/ 119147 h 119830"/>
                <a:gd name="connsiteX1" fmla="*/ 103477 w 101395"/>
                <a:gd name="connsiteY1" fmla="*/ 119147 h 119830"/>
                <a:gd name="connsiteX2" fmla="*/ 103477 w 101395"/>
                <a:gd name="connsiteY2" fmla="*/ 6690 h 119830"/>
                <a:gd name="connsiteX3" fmla="*/ 75823 w 101395"/>
                <a:gd name="connsiteY3" fmla="*/ 6690 h 119830"/>
                <a:gd name="connsiteX4" fmla="*/ 75823 w 101395"/>
                <a:gd name="connsiteY4" fmla="*/ 67527 h 119830"/>
                <a:gd name="connsiteX5" fmla="*/ 31578 w 101395"/>
                <a:gd name="connsiteY5" fmla="*/ 6690 h 119830"/>
                <a:gd name="connsiteX6" fmla="*/ 6690 w 101395"/>
                <a:gd name="connsiteY6" fmla="*/ 6690 h 119830"/>
                <a:gd name="connsiteX7" fmla="*/ 6690 w 101395"/>
                <a:gd name="connsiteY7" fmla="*/ 119147 h 119830"/>
                <a:gd name="connsiteX8" fmla="*/ 33422 w 101395"/>
                <a:gd name="connsiteY8" fmla="*/ 119147 h 119830"/>
                <a:gd name="connsiteX9" fmla="*/ 33422 w 101395"/>
                <a:gd name="connsiteY9" fmla="*/ 54623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395" h="119830">
                  <a:moveTo>
                    <a:pt x="79510" y="119147"/>
                  </a:moveTo>
                  <a:lnTo>
                    <a:pt x="103477" y="119147"/>
                  </a:lnTo>
                  <a:lnTo>
                    <a:pt x="103477" y="6690"/>
                  </a:lnTo>
                  <a:lnTo>
                    <a:pt x="75823" y="6690"/>
                  </a:lnTo>
                  <a:lnTo>
                    <a:pt x="75823" y="67527"/>
                  </a:lnTo>
                  <a:lnTo>
                    <a:pt x="31578" y="6690"/>
                  </a:lnTo>
                  <a:lnTo>
                    <a:pt x="6690" y="6690"/>
                  </a:lnTo>
                  <a:lnTo>
                    <a:pt x="6690" y="119147"/>
                  </a:lnTo>
                  <a:lnTo>
                    <a:pt x="33422" y="119147"/>
                  </a:lnTo>
                  <a:lnTo>
                    <a:pt x="33422" y="54623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="" xmlns:a16="http://schemas.microsoft.com/office/drawing/2014/main" id="{29244072-C4C5-4063-B124-8779C4577E53}"/>
                </a:ext>
              </a:extLst>
            </p:cNvPr>
            <p:cNvSpPr/>
            <p:nvPr/>
          </p:nvSpPr>
          <p:spPr bwMode="gray">
            <a:xfrm>
              <a:off x="1541890" y="545210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20069 h 119830"/>
                <a:gd name="connsiteX3" fmla="*/ 6690 w 36870"/>
                <a:gd name="connsiteY3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20069"/>
                  </a:lnTo>
                  <a:lnTo>
                    <a:pt x="6690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="" xmlns:a16="http://schemas.microsoft.com/office/drawing/2014/main" id="{F7CD4A25-77BC-4DA5-9C6A-A059B8BE05C7}"/>
                </a:ext>
              </a:extLst>
            </p:cNvPr>
            <p:cNvSpPr/>
            <p:nvPr/>
          </p:nvSpPr>
          <p:spPr bwMode="gray">
            <a:xfrm>
              <a:off x="1590713" y="544289"/>
              <a:ext cx="101395" cy="119831"/>
            </a:xfrm>
            <a:custGeom>
              <a:avLst/>
              <a:gdLst>
                <a:gd name="connsiteX0" fmla="*/ 53732 w 101395"/>
                <a:gd name="connsiteY0" fmla="*/ 121912 h 119830"/>
                <a:gd name="connsiteX1" fmla="*/ 102586 w 101395"/>
                <a:gd name="connsiteY1" fmla="*/ 71215 h 119830"/>
                <a:gd name="connsiteX2" fmla="*/ 102586 w 101395"/>
                <a:gd name="connsiteY2" fmla="*/ 6690 h 119830"/>
                <a:gd name="connsiteX3" fmla="*/ 74011 w 101395"/>
                <a:gd name="connsiteY3" fmla="*/ 6690 h 119830"/>
                <a:gd name="connsiteX4" fmla="*/ 74011 w 101395"/>
                <a:gd name="connsiteY4" fmla="*/ 71215 h 119830"/>
                <a:gd name="connsiteX5" fmla="*/ 54654 w 101395"/>
                <a:gd name="connsiteY5" fmla="*/ 96102 h 119830"/>
                <a:gd name="connsiteX6" fmla="*/ 35297 w 101395"/>
                <a:gd name="connsiteY6" fmla="*/ 71215 h 119830"/>
                <a:gd name="connsiteX7" fmla="*/ 35297 w 101395"/>
                <a:gd name="connsiteY7" fmla="*/ 6690 h 119830"/>
                <a:gd name="connsiteX8" fmla="*/ 6722 w 101395"/>
                <a:gd name="connsiteY8" fmla="*/ 6690 h 119830"/>
                <a:gd name="connsiteX9" fmla="*/ 6722 w 101395"/>
                <a:gd name="connsiteY9" fmla="*/ 71215 h 119830"/>
                <a:gd name="connsiteX10" fmla="*/ 53732 w 101395"/>
                <a:gd name="connsiteY10" fmla="*/ 121912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19830">
                  <a:moveTo>
                    <a:pt x="53732" y="121912"/>
                  </a:moveTo>
                  <a:cubicBezTo>
                    <a:pt x="82307" y="121912"/>
                    <a:pt x="102586" y="106242"/>
                    <a:pt x="102586" y="71215"/>
                  </a:cubicBezTo>
                  <a:lnTo>
                    <a:pt x="102586" y="6690"/>
                  </a:lnTo>
                  <a:lnTo>
                    <a:pt x="74011" y="6690"/>
                  </a:lnTo>
                  <a:lnTo>
                    <a:pt x="74011" y="71215"/>
                  </a:lnTo>
                  <a:cubicBezTo>
                    <a:pt x="74011" y="86885"/>
                    <a:pt x="67559" y="96102"/>
                    <a:pt x="54654" y="96102"/>
                  </a:cubicBezTo>
                  <a:cubicBezTo>
                    <a:pt x="41749" y="96102"/>
                    <a:pt x="35297" y="86885"/>
                    <a:pt x="35297" y="71215"/>
                  </a:cubicBezTo>
                  <a:lnTo>
                    <a:pt x="35297" y="6690"/>
                  </a:lnTo>
                  <a:lnTo>
                    <a:pt x="6722" y="6690"/>
                  </a:lnTo>
                  <a:lnTo>
                    <a:pt x="6722" y="71215"/>
                  </a:lnTo>
                  <a:cubicBezTo>
                    <a:pt x="5800" y="106242"/>
                    <a:pt x="25157" y="121912"/>
                    <a:pt x="53732" y="121912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30" name="Gerader Verbinder 29">
            <a:extLst>
              <a:ext uri="{FF2B5EF4-FFF2-40B4-BE49-F238E27FC236}">
                <a16:creationId xmlns="" xmlns:a16="http://schemas.microsoft.com/office/drawing/2014/main" id="{BA7ADA02-B7E6-4A4D-B5D7-A4B4D3156A1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530344"/>
            <a:ext cx="529200" cy="0"/>
          </a:xfrm>
          <a:prstGeom prst="line">
            <a:avLst/>
          </a:prstGeom>
          <a:noFill/>
          <a:ln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60709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Foliennummernplatzhalter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age </a:t>
            </a:r>
            <a:fld id="{FCC2A069-EAF7-4C15-9012-9532D1A4F97E}" type="slidenum">
              <a:rPr lang="en-GB"/>
              <a:pPr>
                <a:defRPr/>
              </a:pPr>
              <a:t>‹#›</a:t>
            </a:fld>
            <a:endParaRPr lang="de-DE" b="0"/>
          </a:p>
        </p:txBody>
      </p:sp>
      <p:sp>
        <p:nvSpPr>
          <p:cNvPr id="4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US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0797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44659CF2-7763-4445-B434-3363F9CD86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76921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65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0B8ADD4A-DF09-4F28-A9EB-3A99CC89E352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FA68AF64-BAFC-4D95-8C5E-3B3D82C19C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7708900" y="1668463"/>
            <a:ext cx="3895725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/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67" name="Textplatzhalter 7">
            <a:extLst>
              <a:ext uri="{FF2B5EF4-FFF2-40B4-BE49-F238E27FC236}">
                <a16:creationId xmlns="" xmlns:a16="http://schemas.microsoft.com/office/drawing/2014/main" id="{D274D173-2D58-4DDC-BBCB-C0A1A93CBB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7708900" y="2417763"/>
            <a:ext cx="3895725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/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68" name="Textplatzhalter 7">
            <a:extLst>
              <a:ext uri="{FF2B5EF4-FFF2-40B4-BE49-F238E27FC236}">
                <a16:creationId xmlns="" xmlns:a16="http://schemas.microsoft.com/office/drawing/2014/main" id="{7F5AE071-8454-4F12-ACE0-275F98FC189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7708900" y="3167063"/>
            <a:ext cx="3895725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/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69" name="Textplatzhalter 7">
            <a:extLst>
              <a:ext uri="{FF2B5EF4-FFF2-40B4-BE49-F238E27FC236}">
                <a16:creationId xmlns="" xmlns:a16="http://schemas.microsoft.com/office/drawing/2014/main" id="{7E702003-D733-45AC-ACF6-59872FE358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7708900" y="3903663"/>
            <a:ext cx="3895725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/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70" name="Textplatzhalter 7">
            <a:extLst>
              <a:ext uri="{FF2B5EF4-FFF2-40B4-BE49-F238E27FC236}">
                <a16:creationId xmlns="" xmlns:a16="http://schemas.microsoft.com/office/drawing/2014/main" id="{8ECFEE49-1D37-4F05-BCAC-04896EEB92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7708900" y="4640263"/>
            <a:ext cx="3895725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/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71" name="Textplatzhalter 7">
            <a:extLst>
              <a:ext uri="{FF2B5EF4-FFF2-40B4-BE49-F238E27FC236}">
                <a16:creationId xmlns="" xmlns:a16="http://schemas.microsoft.com/office/drawing/2014/main" id="{B44E3626-A072-4848-B666-0A3741C7119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7708900" y="5436786"/>
            <a:ext cx="3895725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/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72" name="Textplatzhalter 7">
            <a:extLst>
              <a:ext uri="{FF2B5EF4-FFF2-40B4-BE49-F238E27FC236}">
                <a16:creationId xmlns="" xmlns:a16="http://schemas.microsoft.com/office/drawing/2014/main" id="{C48EC1DD-C16A-4A72-959C-65F9FE7845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07190" y="1668550"/>
            <a:ext cx="496801" cy="496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73" name="Textplatzhalter 7">
            <a:extLst>
              <a:ext uri="{FF2B5EF4-FFF2-40B4-BE49-F238E27FC236}">
                <a16:creationId xmlns="" xmlns:a16="http://schemas.microsoft.com/office/drawing/2014/main" id="{0F15A378-415C-4090-BBF0-C8B30AC4C60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007190" y="2422215"/>
            <a:ext cx="496801" cy="496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74" name="Textplatzhalter 7">
            <a:extLst>
              <a:ext uri="{FF2B5EF4-FFF2-40B4-BE49-F238E27FC236}">
                <a16:creationId xmlns="" xmlns:a16="http://schemas.microsoft.com/office/drawing/2014/main" id="{D4003D74-BFE6-4503-97D9-C4134F065AB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007190" y="3175880"/>
            <a:ext cx="496801" cy="496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75" name="Textplatzhalter 7">
            <a:extLst>
              <a:ext uri="{FF2B5EF4-FFF2-40B4-BE49-F238E27FC236}">
                <a16:creationId xmlns="" xmlns:a16="http://schemas.microsoft.com/office/drawing/2014/main" id="{AEFE3A6A-DA8F-4718-9228-1A7E92C310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007190" y="3929545"/>
            <a:ext cx="496801" cy="496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76" name="Textplatzhalter 7">
            <a:extLst>
              <a:ext uri="{FF2B5EF4-FFF2-40B4-BE49-F238E27FC236}">
                <a16:creationId xmlns="" xmlns:a16="http://schemas.microsoft.com/office/drawing/2014/main" id="{B2D8A15E-C742-47EC-B035-695687FEAF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007190" y="4683210"/>
            <a:ext cx="496801" cy="496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77" name="Textplatzhalter 7">
            <a:extLst>
              <a:ext uri="{FF2B5EF4-FFF2-40B4-BE49-F238E27FC236}">
                <a16:creationId xmlns="" xmlns:a16="http://schemas.microsoft.com/office/drawing/2014/main" id="{78CD37A8-BC23-452B-B0D9-22E62A8436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007190" y="5436873"/>
            <a:ext cx="496801" cy="496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="" xmlns:a16="http://schemas.microsoft.com/office/drawing/2014/main" id="{A109580D-1DB4-41E3-9DF3-DABBDDD31850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>
            <a:lvl1pPr>
              <a:defRPr>
                <a:noFill/>
              </a:defRPr>
            </a:lvl1pPr>
          </a:lstStyle>
          <a:p>
            <a:fld id="{BBFEEF52-FC71-4FB6-8150-D229B3F24A7D}" type="datetime1">
              <a:rPr lang="en-US" noProof="0" smtClean="0"/>
              <a:pPr/>
              <a:t>4/29/2020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DDD741F1-BDA1-4B10-AC8E-99851215E70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DBE9F0FB-EDB0-4852-80E5-7A6E52FAE69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9" name="Bildplatzhalter 2">
            <a:extLst>
              <a:ext uri="{FF2B5EF4-FFF2-40B4-BE49-F238E27FC236}">
                <a16:creationId xmlns="" xmlns:a16="http://schemas.microsoft.com/office/drawing/2014/main" id="{14214412-13AC-47A4-9A59-A1F9CF77EA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 bwMode="gray">
          <a:xfrm>
            <a:off x="-12418" y="1065607"/>
            <a:ext cx="6108418" cy="5461192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 noProof="0"/>
          </a:p>
        </p:txBody>
      </p:sp>
      <p:cxnSp>
        <p:nvCxnSpPr>
          <p:cNvPr id="86" name="Gerader Verbinder 85">
            <a:extLst>
              <a:ext uri="{FF2B5EF4-FFF2-40B4-BE49-F238E27FC236}">
                <a16:creationId xmlns="" xmlns:a16="http://schemas.microsoft.com/office/drawing/2014/main" id="{9A2BE26A-4B66-4B6C-A892-1507538FA03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896726" y="1065607"/>
            <a:ext cx="0" cy="54684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="" xmlns:a16="http://schemas.microsoft.com/office/drawing/2014/main" id="{64CA740A-CCE9-48DA-9D08-EE659D7D5DD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88131" y="1070369"/>
            <a:ext cx="1161288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="" xmlns:a16="http://schemas.microsoft.com/office/drawing/2014/main" id="{F69EC894-98E8-4915-99E4-D2FF47A6D46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88131" y="6529388"/>
            <a:ext cx="1161288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itle 40">
            <a:extLst>
              <a:ext uri="{FF2B5EF4-FFF2-40B4-BE49-F238E27FC236}">
                <a16:creationId xmlns="" xmlns:a16="http://schemas.microsoft.com/office/drawing/2014/main" id="{4979BB30-30AD-4DB6-977B-17F07280743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-2382" y="1036800"/>
            <a:ext cx="6130800" cy="5544000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756000" tIns="0" rIns="1620000" bIns="54000" anchor="ctr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48" name="Gruppieren 47">
            <a:extLst>
              <a:ext uri="{FF2B5EF4-FFF2-40B4-BE49-F238E27FC236}">
                <a16:creationId xmlns="" xmlns:a16="http://schemas.microsoft.com/office/drawing/2014/main" id="{9864055F-79FD-4C0E-8EBC-281D8BECBB08}"/>
              </a:ext>
            </a:extLst>
          </p:cNvPr>
          <p:cNvGrpSpPr/>
          <p:nvPr userDrawn="1"/>
        </p:nvGrpSpPr>
        <p:grpSpPr bwMode="gray">
          <a:xfrm>
            <a:off x="277530" y="326519"/>
            <a:ext cx="2196872" cy="482701"/>
            <a:chOff x="364785" y="474234"/>
            <a:chExt cx="1720030" cy="377928"/>
          </a:xfrm>
          <a:solidFill>
            <a:schemeClr val="tx2"/>
          </a:solidFill>
        </p:grpSpPr>
        <p:sp>
          <p:nvSpPr>
            <p:cNvPr id="50" name="Freihandform: Form 49">
              <a:extLst>
                <a:ext uri="{FF2B5EF4-FFF2-40B4-BE49-F238E27FC236}">
                  <a16:creationId xmlns="" xmlns:a16="http://schemas.microsoft.com/office/drawing/2014/main" id="{7A71C19D-D5B1-4FF6-8606-12319569C005}"/>
                </a:ext>
              </a:extLst>
            </p:cNvPr>
            <p:cNvSpPr/>
            <p:nvPr/>
          </p:nvSpPr>
          <p:spPr bwMode="gray">
            <a:xfrm>
              <a:off x="364785" y="474234"/>
              <a:ext cx="479323" cy="129049"/>
            </a:xfrm>
            <a:custGeom>
              <a:avLst/>
              <a:gdLst>
                <a:gd name="connsiteX0" fmla="*/ 241743 w 479322"/>
                <a:gd name="connsiteY0" fmla="*/ 47248 h 129048"/>
                <a:gd name="connsiteX1" fmla="*/ 6690 w 479322"/>
                <a:gd name="connsiteY1" fmla="*/ 6690 h 129048"/>
                <a:gd name="connsiteX2" fmla="*/ 55544 w 479322"/>
                <a:gd name="connsiteY2" fmla="*/ 85963 h 129048"/>
                <a:gd name="connsiteX3" fmla="*/ 241743 w 479322"/>
                <a:gd name="connsiteY3" fmla="*/ 126521 h 129048"/>
                <a:gd name="connsiteX4" fmla="*/ 427019 w 479322"/>
                <a:gd name="connsiteY4" fmla="*/ 85963 h 129048"/>
                <a:gd name="connsiteX5" fmla="*/ 475873 w 479322"/>
                <a:gd name="connsiteY5" fmla="*/ 669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322" h="129048">
                  <a:moveTo>
                    <a:pt x="241743" y="47248"/>
                  </a:moveTo>
                  <a:lnTo>
                    <a:pt x="6690" y="6690"/>
                  </a:lnTo>
                  <a:lnTo>
                    <a:pt x="55544" y="85963"/>
                  </a:lnTo>
                  <a:lnTo>
                    <a:pt x="241743" y="126521"/>
                  </a:lnTo>
                  <a:lnTo>
                    <a:pt x="427019" y="85963"/>
                  </a:lnTo>
                  <a:lnTo>
                    <a:pt x="475873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="" xmlns:a16="http://schemas.microsoft.com/office/drawing/2014/main" id="{C64EA654-D2C2-41A8-B68A-A192E1E367E2}"/>
                </a:ext>
              </a:extLst>
            </p:cNvPr>
            <p:cNvSpPr/>
            <p:nvPr/>
          </p:nvSpPr>
          <p:spPr bwMode="gray">
            <a:xfrm>
              <a:off x="549140" y="759984"/>
              <a:ext cx="110613" cy="92178"/>
            </a:xfrm>
            <a:custGeom>
              <a:avLst/>
              <a:gdLst>
                <a:gd name="connsiteX0" fmla="*/ 57388 w 110612"/>
                <a:gd name="connsiteY0" fmla="*/ 87806 h 92177"/>
                <a:gd name="connsiteX1" fmla="*/ 107164 w 110612"/>
                <a:gd name="connsiteY1" fmla="*/ 6690 h 92177"/>
                <a:gd name="connsiteX2" fmla="*/ 57388 w 110612"/>
                <a:gd name="connsiteY2" fmla="*/ 20517 h 92177"/>
                <a:gd name="connsiteX3" fmla="*/ 6690 w 110612"/>
                <a:gd name="connsiteY3" fmla="*/ 6690 h 92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612" h="92177">
                  <a:moveTo>
                    <a:pt x="57388" y="87806"/>
                  </a:moveTo>
                  <a:lnTo>
                    <a:pt x="107164" y="6690"/>
                  </a:lnTo>
                  <a:lnTo>
                    <a:pt x="57388" y="20517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="" xmlns:a16="http://schemas.microsoft.com/office/drawing/2014/main" id="{62AA536C-274C-47BF-BDAC-AFE97B190128}"/>
                </a:ext>
              </a:extLst>
            </p:cNvPr>
            <p:cNvSpPr/>
            <p:nvPr/>
          </p:nvSpPr>
          <p:spPr bwMode="gray">
            <a:xfrm>
              <a:off x="456962" y="625405"/>
              <a:ext cx="294968" cy="101395"/>
            </a:xfrm>
            <a:custGeom>
              <a:avLst/>
              <a:gdLst>
                <a:gd name="connsiteX0" fmla="*/ 6690 w 294967"/>
                <a:gd name="connsiteY0" fmla="*/ 6690 h 101395"/>
                <a:gd name="connsiteX1" fmla="*/ 149565 w 294967"/>
                <a:gd name="connsiteY1" fmla="*/ 36187 h 101395"/>
                <a:gd name="connsiteX2" fmla="*/ 291519 w 294967"/>
                <a:gd name="connsiteY2" fmla="*/ 6690 h 101395"/>
                <a:gd name="connsiteX3" fmla="*/ 246352 w 294967"/>
                <a:gd name="connsiteY3" fmla="*/ 78589 h 101395"/>
                <a:gd name="connsiteX4" fmla="*/ 149565 w 294967"/>
                <a:gd name="connsiteY4" fmla="*/ 103477 h 101395"/>
                <a:gd name="connsiteX5" fmla="*/ 51857 w 294967"/>
                <a:gd name="connsiteY5" fmla="*/ 78589 h 10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967" h="101395">
                  <a:moveTo>
                    <a:pt x="6690" y="6690"/>
                  </a:moveTo>
                  <a:lnTo>
                    <a:pt x="149565" y="36187"/>
                  </a:lnTo>
                  <a:lnTo>
                    <a:pt x="291519" y="6690"/>
                  </a:lnTo>
                  <a:lnTo>
                    <a:pt x="246352" y="78589"/>
                  </a:lnTo>
                  <a:lnTo>
                    <a:pt x="149565" y="103477"/>
                  </a:lnTo>
                  <a:lnTo>
                    <a:pt x="51857" y="7858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="" xmlns:a16="http://schemas.microsoft.com/office/drawing/2014/main" id="{3492037C-3E69-44CC-BB2C-9BDFC76905AD}"/>
                </a:ext>
              </a:extLst>
            </p:cNvPr>
            <p:cNvSpPr/>
            <p:nvPr/>
          </p:nvSpPr>
          <p:spPr bwMode="gray">
            <a:xfrm>
              <a:off x="1992638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="" xmlns:a16="http://schemas.microsoft.com/office/drawing/2014/main" id="{6FAC9CF1-5342-4AE5-9FCF-71E3188FF67C}"/>
                </a:ext>
              </a:extLst>
            </p:cNvPr>
            <p:cNvSpPr/>
            <p:nvPr/>
          </p:nvSpPr>
          <p:spPr bwMode="gray">
            <a:xfrm>
              <a:off x="921536" y="714817"/>
              <a:ext cx="119831" cy="129049"/>
            </a:xfrm>
            <a:custGeom>
              <a:avLst/>
              <a:gdLst>
                <a:gd name="connsiteX0" fmla="*/ 90572 w 119830"/>
                <a:gd name="connsiteY0" fmla="*/ 119147 h 129048"/>
                <a:gd name="connsiteX1" fmla="*/ 90572 w 119830"/>
                <a:gd name="connsiteY1" fmla="*/ 61997 h 129048"/>
                <a:gd name="connsiteX2" fmla="*/ 61997 w 119830"/>
                <a:gd name="connsiteY2" fmla="*/ 122834 h 129048"/>
                <a:gd name="connsiteX3" fmla="*/ 33422 w 119830"/>
                <a:gd name="connsiteY3" fmla="*/ 61997 h 129048"/>
                <a:gd name="connsiteX4" fmla="*/ 33422 w 119830"/>
                <a:gd name="connsiteY4" fmla="*/ 119147 h 129048"/>
                <a:gd name="connsiteX5" fmla="*/ 6690 w 119830"/>
                <a:gd name="connsiteY5" fmla="*/ 119147 h 129048"/>
                <a:gd name="connsiteX6" fmla="*/ 6690 w 119830"/>
                <a:gd name="connsiteY6" fmla="*/ 6690 h 129048"/>
                <a:gd name="connsiteX7" fmla="*/ 33422 w 119830"/>
                <a:gd name="connsiteY7" fmla="*/ 6690 h 129048"/>
                <a:gd name="connsiteX8" fmla="*/ 61997 w 119830"/>
                <a:gd name="connsiteY8" fmla="*/ 69371 h 129048"/>
                <a:gd name="connsiteX9" fmla="*/ 90572 w 119830"/>
                <a:gd name="connsiteY9" fmla="*/ 6690 h 129048"/>
                <a:gd name="connsiteX10" fmla="*/ 117303 w 119830"/>
                <a:gd name="connsiteY10" fmla="*/ 6690 h 129048"/>
                <a:gd name="connsiteX11" fmla="*/ 117303 w 119830"/>
                <a:gd name="connsiteY11" fmla="*/ 119147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830" h="129048">
                  <a:moveTo>
                    <a:pt x="90572" y="119147"/>
                  </a:moveTo>
                  <a:lnTo>
                    <a:pt x="90572" y="61997"/>
                  </a:lnTo>
                  <a:lnTo>
                    <a:pt x="61997" y="122834"/>
                  </a:lnTo>
                  <a:lnTo>
                    <a:pt x="33422" y="61997"/>
                  </a:lnTo>
                  <a:lnTo>
                    <a:pt x="33422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33422" y="6690"/>
                  </a:lnTo>
                  <a:lnTo>
                    <a:pt x="61997" y="69371"/>
                  </a:lnTo>
                  <a:lnTo>
                    <a:pt x="90572" y="6690"/>
                  </a:lnTo>
                  <a:lnTo>
                    <a:pt x="117303" y="6690"/>
                  </a:lnTo>
                  <a:lnTo>
                    <a:pt x="117303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="" xmlns:a16="http://schemas.microsoft.com/office/drawing/2014/main" id="{4E3FD098-5860-46D5-81B1-F172667FCCD2}"/>
                </a:ext>
              </a:extLst>
            </p:cNvPr>
            <p:cNvSpPr/>
            <p:nvPr/>
          </p:nvSpPr>
          <p:spPr bwMode="gray">
            <a:xfrm>
              <a:off x="1154745" y="714817"/>
              <a:ext cx="101395" cy="119831"/>
            </a:xfrm>
            <a:custGeom>
              <a:avLst/>
              <a:gdLst>
                <a:gd name="connsiteX0" fmla="*/ 44483 w 101395"/>
                <a:gd name="connsiteY0" fmla="*/ 31578 h 119830"/>
                <a:gd name="connsiteX1" fmla="*/ 35265 w 101395"/>
                <a:gd name="connsiteY1" fmla="*/ 31578 h 119830"/>
                <a:gd name="connsiteX2" fmla="*/ 35265 w 101395"/>
                <a:gd name="connsiteY2" fmla="*/ 94259 h 119830"/>
                <a:gd name="connsiteX3" fmla="*/ 43561 w 101395"/>
                <a:gd name="connsiteY3" fmla="*/ 94259 h 119830"/>
                <a:gd name="connsiteX4" fmla="*/ 73058 w 101395"/>
                <a:gd name="connsiteY4" fmla="*/ 62919 h 119830"/>
                <a:gd name="connsiteX5" fmla="*/ 44483 w 101395"/>
                <a:gd name="connsiteY5" fmla="*/ 31578 h 119830"/>
                <a:gd name="connsiteX6" fmla="*/ 42640 w 101395"/>
                <a:gd name="connsiteY6" fmla="*/ 119147 h 119830"/>
                <a:gd name="connsiteX7" fmla="*/ 6690 w 101395"/>
                <a:gd name="connsiteY7" fmla="*/ 119147 h 119830"/>
                <a:gd name="connsiteX8" fmla="*/ 6690 w 101395"/>
                <a:gd name="connsiteY8" fmla="*/ 6690 h 119830"/>
                <a:gd name="connsiteX9" fmla="*/ 44483 w 101395"/>
                <a:gd name="connsiteY9" fmla="*/ 6690 h 119830"/>
                <a:gd name="connsiteX10" fmla="*/ 101633 w 101395"/>
                <a:gd name="connsiteY10" fmla="*/ 62919 h 119830"/>
                <a:gd name="connsiteX11" fmla="*/ 42640 w 101395"/>
                <a:gd name="connsiteY11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395" h="119830">
                  <a:moveTo>
                    <a:pt x="44483" y="31578"/>
                  </a:moveTo>
                  <a:lnTo>
                    <a:pt x="35265" y="31578"/>
                  </a:lnTo>
                  <a:lnTo>
                    <a:pt x="35265" y="94259"/>
                  </a:lnTo>
                  <a:lnTo>
                    <a:pt x="43561" y="94259"/>
                  </a:lnTo>
                  <a:cubicBezTo>
                    <a:pt x="64762" y="94259"/>
                    <a:pt x="73058" y="85041"/>
                    <a:pt x="73058" y="62919"/>
                  </a:cubicBezTo>
                  <a:cubicBezTo>
                    <a:pt x="73058" y="40796"/>
                    <a:pt x="65684" y="31578"/>
                    <a:pt x="44483" y="31578"/>
                  </a:cubicBezTo>
                  <a:moveTo>
                    <a:pt x="42640" y="119147"/>
                  </a:moveTo>
                  <a:lnTo>
                    <a:pt x="6690" y="119147"/>
                  </a:lnTo>
                  <a:lnTo>
                    <a:pt x="6690" y="6690"/>
                  </a:lnTo>
                  <a:lnTo>
                    <a:pt x="44483" y="6690"/>
                  </a:lnTo>
                  <a:cubicBezTo>
                    <a:pt x="78589" y="6690"/>
                    <a:pt x="101633" y="20517"/>
                    <a:pt x="101633" y="62919"/>
                  </a:cubicBezTo>
                  <a:cubicBezTo>
                    <a:pt x="102555" y="103477"/>
                    <a:pt x="78589" y="119147"/>
                    <a:pt x="42640" y="119147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="" xmlns:a16="http://schemas.microsoft.com/office/drawing/2014/main" id="{12EE7210-73F5-4B34-A97C-45E8A3FBFDB9}"/>
                </a:ext>
              </a:extLst>
            </p:cNvPr>
            <p:cNvSpPr/>
            <p:nvPr/>
          </p:nvSpPr>
          <p:spPr bwMode="gray">
            <a:xfrm>
              <a:off x="1266280" y="714817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19147 h 119830"/>
                <a:gd name="connsiteX3" fmla="*/ 6690 w 36870"/>
                <a:gd name="connsiteY3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19147"/>
                  </a:lnTo>
                  <a:lnTo>
                    <a:pt x="6690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="" xmlns:a16="http://schemas.microsoft.com/office/drawing/2014/main" id="{E822595D-C80D-4D4F-A064-2B83558E488F}"/>
                </a:ext>
              </a:extLst>
            </p:cNvPr>
            <p:cNvSpPr/>
            <p:nvPr/>
          </p:nvSpPr>
          <p:spPr bwMode="gray">
            <a:xfrm>
              <a:off x="1311447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6606" y="32500"/>
                    <a:pt x="71214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="" xmlns:a16="http://schemas.microsoft.com/office/drawing/2014/main" id="{0E930BE0-9D9C-4D69-B5E0-FB69C6C99977}"/>
                </a:ext>
              </a:extLst>
            </p:cNvPr>
            <p:cNvSpPr/>
            <p:nvPr/>
          </p:nvSpPr>
          <p:spPr bwMode="gray">
            <a:xfrm>
              <a:off x="1407311" y="714817"/>
              <a:ext cx="119831" cy="119831"/>
            </a:xfrm>
            <a:custGeom>
              <a:avLst/>
              <a:gdLst>
                <a:gd name="connsiteX0" fmla="*/ 50935 w 119830"/>
                <a:gd name="connsiteY0" fmla="*/ 73980 h 119830"/>
                <a:gd name="connsiteX1" fmla="*/ 73058 w 119830"/>
                <a:gd name="connsiteY1" fmla="*/ 73980 h 119830"/>
                <a:gd name="connsiteX2" fmla="*/ 61997 w 119830"/>
                <a:gd name="connsiteY2" fmla="*/ 38031 h 119830"/>
                <a:gd name="connsiteX3" fmla="*/ 50935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935" y="73980"/>
                  </a:moveTo>
                  <a:lnTo>
                    <a:pt x="73058" y="73980"/>
                  </a:lnTo>
                  <a:lnTo>
                    <a:pt x="61997" y="38031"/>
                  </a:lnTo>
                  <a:lnTo>
                    <a:pt x="50935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="" xmlns:a16="http://schemas.microsoft.com/office/drawing/2014/main" id="{B9FC70B8-EBC6-458B-92C8-43839E3076ED}"/>
                </a:ext>
              </a:extLst>
            </p:cNvPr>
            <p:cNvSpPr/>
            <p:nvPr/>
          </p:nvSpPr>
          <p:spPr bwMode="gray">
            <a:xfrm>
              <a:off x="1529907" y="714817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86885 w 92177"/>
                <a:gd name="connsiteY1" fmla="*/ 119147 h 119830"/>
                <a:gd name="connsiteX2" fmla="*/ 86885 w 92177"/>
                <a:gd name="connsiteY2" fmla="*/ 93337 h 119830"/>
                <a:gd name="connsiteX3" fmla="*/ 35265 w 92177"/>
                <a:gd name="connsiteY3" fmla="*/ 93337 h 119830"/>
                <a:gd name="connsiteX4" fmla="*/ 35265 w 92177"/>
                <a:gd name="connsiteY4" fmla="*/ 6690 h 119830"/>
                <a:gd name="connsiteX5" fmla="*/ 6690 w 92177"/>
                <a:gd name="connsiteY5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86885" y="119147"/>
                  </a:lnTo>
                  <a:lnTo>
                    <a:pt x="86885" y="93337"/>
                  </a:lnTo>
                  <a:lnTo>
                    <a:pt x="35265" y="93337"/>
                  </a:lnTo>
                  <a:lnTo>
                    <a:pt x="35265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="" xmlns:a16="http://schemas.microsoft.com/office/drawing/2014/main" id="{F716125F-084D-4B56-B48E-0608ED8DD873}"/>
                </a:ext>
              </a:extLst>
            </p:cNvPr>
            <p:cNvSpPr/>
            <p:nvPr/>
          </p:nvSpPr>
          <p:spPr bwMode="gray">
            <a:xfrm>
              <a:off x="1663564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7527" y="32500"/>
                    <a:pt x="72136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="" xmlns:a16="http://schemas.microsoft.com/office/drawing/2014/main" id="{D7485FF7-C52D-4B9E-B38D-A1E5D2BE3626}"/>
                </a:ext>
              </a:extLst>
            </p:cNvPr>
            <p:cNvSpPr/>
            <p:nvPr/>
          </p:nvSpPr>
          <p:spPr bwMode="gray">
            <a:xfrm>
              <a:off x="1760351" y="714817"/>
              <a:ext cx="119831" cy="119831"/>
            </a:xfrm>
            <a:custGeom>
              <a:avLst/>
              <a:gdLst>
                <a:gd name="connsiteX0" fmla="*/ 50014 w 119830"/>
                <a:gd name="connsiteY0" fmla="*/ 73980 h 119830"/>
                <a:gd name="connsiteX1" fmla="*/ 72136 w 119830"/>
                <a:gd name="connsiteY1" fmla="*/ 73980 h 119830"/>
                <a:gd name="connsiteX2" fmla="*/ 61075 w 119830"/>
                <a:gd name="connsiteY2" fmla="*/ 38031 h 119830"/>
                <a:gd name="connsiteX3" fmla="*/ 50014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014" y="73980"/>
                  </a:moveTo>
                  <a:lnTo>
                    <a:pt x="72136" y="73980"/>
                  </a:lnTo>
                  <a:lnTo>
                    <a:pt x="61075" y="38031"/>
                  </a:lnTo>
                  <a:lnTo>
                    <a:pt x="50014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="" xmlns:a16="http://schemas.microsoft.com/office/drawing/2014/main" id="{8E24B907-1D3B-468C-971D-03A63EE079B7}"/>
                </a:ext>
              </a:extLst>
            </p:cNvPr>
            <p:cNvSpPr/>
            <p:nvPr/>
          </p:nvSpPr>
          <p:spPr bwMode="gray">
            <a:xfrm>
              <a:off x="1882947" y="714817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1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1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="" xmlns:a16="http://schemas.microsoft.com/office/drawing/2014/main" id="{C90D8DDD-214E-4730-AC04-13CFFE23B98C}"/>
                </a:ext>
              </a:extLst>
            </p:cNvPr>
            <p:cNvSpPr/>
            <p:nvPr/>
          </p:nvSpPr>
          <p:spPr bwMode="gray">
            <a:xfrm>
              <a:off x="1054272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="" xmlns:a16="http://schemas.microsoft.com/office/drawing/2014/main" id="{F949F571-DAF0-4161-9296-B1E239E9F966}"/>
                </a:ext>
              </a:extLst>
            </p:cNvPr>
            <p:cNvSpPr/>
            <p:nvPr/>
          </p:nvSpPr>
          <p:spPr bwMode="gray">
            <a:xfrm>
              <a:off x="1695827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90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1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90" y="111773"/>
                    <a:pt x="99790" y="87807"/>
                  </a:cubicBezTo>
                  <a:cubicBezTo>
                    <a:pt x="99790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1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="" xmlns:a16="http://schemas.microsoft.com/office/drawing/2014/main" id="{0B39EFB2-52B3-411B-BD94-1FBCBFFB8D94}"/>
                </a:ext>
              </a:extLst>
            </p:cNvPr>
            <p:cNvSpPr/>
            <p:nvPr/>
          </p:nvSpPr>
          <p:spPr bwMode="gray">
            <a:xfrm>
              <a:off x="921536" y="545210"/>
              <a:ext cx="92177" cy="119831"/>
            </a:xfrm>
            <a:custGeom>
              <a:avLst/>
              <a:gdLst>
                <a:gd name="connsiteX0" fmla="*/ 35265 w 92177"/>
                <a:gd name="connsiteY0" fmla="*/ 31578 h 119830"/>
                <a:gd name="connsiteX1" fmla="*/ 35265 w 92177"/>
                <a:gd name="connsiteY1" fmla="*/ 49092 h 119830"/>
                <a:gd name="connsiteX2" fmla="*/ 74902 w 92177"/>
                <a:gd name="connsiteY2" fmla="*/ 49092 h 119830"/>
                <a:gd name="connsiteX3" fmla="*/ 74902 w 92177"/>
                <a:gd name="connsiteY3" fmla="*/ 73980 h 119830"/>
                <a:gd name="connsiteX4" fmla="*/ 35265 w 92177"/>
                <a:gd name="connsiteY4" fmla="*/ 73980 h 119830"/>
                <a:gd name="connsiteX5" fmla="*/ 35265 w 92177"/>
                <a:gd name="connsiteY5" fmla="*/ 119147 h 119830"/>
                <a:gd name="connsiteX6" fmla="*/ 6690 w 92177"/>
                <a:gd name="connsiteY6" fmla="*/ 119147 h 119830"/>
                <a:gd name="connsiteX7" fmla="*/ 6690 w 92177"/>
                <a:gd name="connsiteY7" fmla="*/ 6690 h 119830"/>
                <a:gd name="connsiteX8" fmla="*/ 90572 w 92177"/>
                <a:gd name="connsiteY8" fmla="*/ 6690 h 119830"/>
                <a:gd name="connsiteX9" fmla="*/ 90572 w 92177"/>
                <a:gd name="connsiteY9" fmla="*/ 31578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177" h="119830">
                  <a:moveTo>
                    <a:pt x="35265" y="31578"/>
                  </a:moveTo>
                  <a:lnTo>
                    <a:pt x="35265" y="49092"/>
                  </a:lnTo>
                  <a:lnTo>
                    <a:pt x="74902" y="49092"/>
                  </a:lnTo>
                  <a:lnTo>
                    <a:pt x="74902" y="73980"/>
                  </a:lnTo>
                  <a:lnTo>
                    <a:pt x="35265" y="73980"/>
                  </a:lnTo>
                  <a:lnTo>
                    <a:pt x="35265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90572" y="6690"/>
                  </a:lnTo>
                  <a:lnTo>
                    <a:pt x="90572" y="31578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="" xmlns:a16="http://schemas.microsoft.com/office/drawing/2014/main" id="{FDCE6459-3D31-4BC4-9FD5-A18617CEA1F6}"/>
                </a:ext>
              </a:extLst>
            </p:cNvPr>
            <p:cNvSpPr/>
            <p:nvPr/>
          </p:nvSpPr>
          <p:spPr bwMode="gray">
            <a:xfrm>
              <a:off x="1017401" y="545210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0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0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="" xmlns:a16="http://schemas.microsoft.com/office/drawing/2014/main" id="{4B6B3B62-8BF4-4080-AE50-33F4C7D12689}"/>
                </a:ext>
              </a:extLst>
            </p:cNvPr>
            <p:cNvSpPr/>
            <p:nvPr/>
          </p:nvSpPr>
          <p:spPr bwMode="gray">
            <a:xfrm>
              <a:off x="1127092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1494 w 92177"/>
                <a:gd name="connsiteY1" fmla="*/ 119147 h 119830"/>
                <a:gd name="connsiteX2" fmla="*/ 91494 w 92177"/>
                <a:gd name="connsiteY2" fmla="*/ 94259 h 119830"/>
                <a:gd name="connsiteX3" fmla="*/ 34344 w 92177"/>
                <a:gd name="connsiteY3" fmla="*/ 94259 h 119830"/>
                <a:gd name="connsiteX4" fmla="*/ 34344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4344 w 92177"/>
                <a:gd name="connsiteY7" fmla="*/ 48170 h 119830"/>
                <a:gd name="connsiteX8" fmla="*/ 34344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1494" y="119147"/>
                  </a:lnTo>
                  <a:lnTo>
                    <a:pt x="91494" y="94259"/>
                  </a:lnTo>
                  <a:lnTo>
                    <a:pt x="34344" y="94259"/>
                  </a:lnTo>
                  <a:lnTo>
                    <a:pt x="34344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4344" y="48170"/>
                  </a:lnTo>
                  <a:lnTo>
                    <a:pt x="34344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="" xmlns:a16="http://schemas.microsoft.com/office/drawing/2014/main" id="{60FCA265-F2BB-41A8-9906-62B785723FD6}"/>
                </a:ext>
              </a:extLst>
            </p:cNvPr>
            <p:cNvSpPr/>
            <p:nvPr/>
          </p:nvSpPr>
          <p:spPr bwMode="gray">
            <a:xfrm>
              <a:off x="1217426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89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0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89" y="111773"/>
                    <a:pt x="99789" y="87807"/>
                  </a:cubicBezTo>
                  <a:cubicBezTo>
                    <a:pt x="99789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0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="" xmlns:a16="http://schemas.microsoft.com/office/drawing/2014/main" id="{99E2CE23-8F3D-4EB3-8008-1651E7001636}"/>
                </a:ext>
              </a:extLst>
            </p:cNvPr>
            <p:cNvSpPr/>
            <p:nvPr/>
          </p:nvSpPr>
          <p:spPr bwMode="gray">
            <a:xfrm>
              <a:off x="1325273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2415 w 92177"/>
                <a:gd name="connsiteY1" fmla="*/ 119147 h 119830"/>
                <a:gd name="connsiteX2" fmla="*/ 92415 w 92177"/>
                <a:gd name="connsiteY2" fmla="*/ 94259 h 119830"/>
                <a:gd name="connsiteX3" fmla="*/ 35265 w 92177"/>
                <a:gd name="connsiteY3" fmla="*/ 94259 h 119830"/>
                <a:gd name="connsiteX4" fmla="*/ 35265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8728 w 92177"/>
                <a:gd name="connsiteY9" fmla="*/ 31578 h 119830"/>
                <a:gd name="connsiteX10" fmla="*/ 88728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2415" y="119147"/>
                  </a:lnTo>
                  <a:lnTo>
                    <a:pt x="92415" y="94259"/>
                  </a:lnTo>
                  <a:lnTo>
                    <a:pt x="35265" y="94259"/>
                  </a:lnTo>
                  <a:lnTo>
                    <a:pt x="35265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8728" y="31578"/>
                  </a:lnTo>
                  <a:lnTo>
                    <a:pt x="88728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="" xmlns:a16="http://schemas.microsoft.com/office/drawing/2014/main" id="{220F43B8-1DE6-4A5C-B587-81EE5DE80D6E}"/>
                </a:ext>
              </a:extLst>
            </p:cNvPr>
            <p:cNvSpPr/>
            <p:nvPr/>
          </p:nvSpPr>
          <p:spPr bwMode="gray">
            <a:xfrm>
              <a:off x="1424825" y="545210"/>
              <a:ext cx="101395" cy="119831"/>
            </a:xfrm>
            <a:custGeom>
              <a:avLst/>
              <a:gdLst>
                <a:gd name="connsiteX0" fmla="*/ 79510 w 101395"/>
                <a:gd name="connsiteY0" fmla="*/ 119147 h 119830"/>
                <a:gd name="connsiteX1" fmla="*/ 103477 w 101395"/>
                <a:gd name="connsiteY1" fmla="*/ 119147 h 119830"/>
                <a:gd name="connsiteX2" fmla="*/ 103477 w 101395"/>
                <a:gd name="connsiteY2" fmla="*/ 6690 h 119830"/>
                <a:gd name="connsiteX3" fmla="*/ 75823 w 101395"/>
                <a:gd name="connsiteY3" fmla="*/ 6690 h 119830"/>
                <a:gd name="connsiteX4" fmla="*/ 75823 w 101395"/>
                <a:gd name="connsiteY4" fmla="*/ 67527 h 119830"/>
                <a:gd name="connsiteX5" fmla="*/ 31578 w 101395"/>
                <a:gd name="connsiteY5" fmla="*/ 6690 h 119830"/>
                <a:gd name="connsiteX6" fmla="*/ 6690 w 101395"/>
                <a:gd name="connsiteY6" fmla="*/ 6690 h 119830"/>
                <a:gd name="connsiteX7" fmla="*/ 6690 w 101395"/>
                <a:gd name="connsiteY7" fmla="*/ 119147 h 119830"/>
                <a:gd name="connsiteX8" fmla="*/ 33422 w 101395"/>
                <a:gd name="connsiteY8" fmla="*/ 119147 h 119830"/>
                <a:gd name="connsiteX9" fmla="*/ 33422 w 101395"/>
                <a:gd name="connsiteY9" fmla="*/ 54623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395" h="119830">
                  <a:moveTo>
                    <a:pt x="79510" y="119147"/>
                  </a:moveTo>
                  <a:lnTo>
                    <a:pt x="103477" y="119147"/>
                  </a:lnTo>
                  <a:lnTo>
                    <a:pt x="103477" y="6690"/>
                  </a:lnTo>
                  <a:lnTo>
                    <a:pt x="75823" y="6690"/>
                  </a:lnTo>
                  <a:lnTo>
                    <a:pt x="75823" y="67527"/>
                  </a:lnTo>
                  <a:lnTo>
                    <a:pt x="31578" y="6690"/>
                  </a:lnTo>
                  <a:lnTo>
                    <a:pt x="6690" y="6690"/>
                  </a:lnTo>
                  <a:lnTo>
                    <a:pt x="6690" y="119147"/>
                  </a:lnTo>
                  <a:lnTo>
                    <a:pt x="33422" y="119147"/>
                  </a:lnTo>
                  <a:lnTo>
                    <a:pt x="33422" y="54623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="" xmlns:a16="http://schemas.microsoft.com/office/drawing/2014/main" id="{79E66AD8-7247-43E3-BAB1-51E6D5D914A4}"/>
                </a:ext>
              </a:extLst>
            </p:cNvPr>
            <p:cNvSpPr/>
            <p:nvPr/>
          </p:nvSpPr>
          <p:spPr bwMode="gray">
            <a:xfrm>
              <a:off x="1541890" y="545210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20069 h 119830"/>
                <a:gd name="connsiteX3" fmla="*/ 6690 w 36870"/>
                <a:gd name="connsiteY3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20069"/>
                  </a:lnTo>
                  <a:lnTo>
                    <a:pt x="6690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="" xmlns:a16="http://schemas.microsoft.com/office/drawing/2014/main" id="{589C667B-0F26-4607-9400-1AA865C79E3F}"/>
                </a:ext>
              </a:extLst>
            </p:cNvPr>
            <p:cNvSpPr/>
            <p:nvPr/>
          </p:nvSpPr>
          <p:spPr bwMode="gray">
            <a:xfrm>
              <a:off x="1590713" y="544289"/>
              <a:ext cx="101395" cy="119831"/>
            </a:xfrm>
            <a:custGeom>
              <a:avLst/>
              <a:gdLst>
                <a:gd name="connsiteX0" fmla="*/ 53732 w 101395"/>
                <a:gd name="connsiteY0" fmla="*/ 121912 h 119830"/>
                <a:gd name="connsiteX1" fmla="*/ 102586 w 101395"/>
                <a:gd name="connsiteY1" fmla="*/ 71215 h 119830"/>
                <a:gd name="connsiteX2" fmla="*/ 102586 w 101395"/>
                <a:gd name="connsiteY2" fmla="*/ 6690 h 119830"/>
                <a:gd name="connsiteX3" fmla="*/ 74011 w 101395"/>
                <a:gd name="connsiteY3" fmla="*/ 6690 h 119830"/>
                <a:gd name="connsiteX4" fmla="*/ 74011 w 101395"/>
                <a:gd name="connsiteY4" fmla="*/ 71215 h 119830"/>
                <a:gd name="connsiteX5" fmla="*/ 54654 w 101395"/>
                <a:gd name="connsiteY5" fmla="*/ 96102 h 119830"/>
                <a:gd name="connsiteX6" fmla="*/ 35297 w 101395"/>
                <a:gd name="connsiteY6" fmla="*/ 71215 h 119830"/>
                <a:gd name="connsiteX7" fmla="*/ 35297 w 101395"/>
                <a:gd name="connsiteY7" fmla="*/ 6690 h 119830"/>
                <a:gd name="connsiteX8" fmla="*/ 6722 w 101395"/>
                <a:gd name="connsiteY8" fmla="*/ 6690 h 119830"/>
                <a:gd name="connsiteX9" fmla="*/ 6722 w 101395"/>
                <a:gd name="connsiteY9" fmla="*/ 71215 h 119830"/>
                <a:gd name="connsiteX10" fmla="*/ 53732 w 101395"/>
                <a:gd name="connsiteY10" fmla="*/ 121912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19830">
                  <a:moveTo>
                    <a:pt x="53732" y="121912"/>
                  </a:moveTo>
                  <a:cubicBezTo>
                    <a:pt x="82307" y="121912"/>
                    <a:pt x="102586" y="106242"/>
                    <a:pt x="102586" y="71215"/>
                  </a:cubicBezTo>
                  <a:lnTo>
                    <a:pt x="102586" y="6690"/>
                  </a:lnTo>
                  <a:lnTo>
                    <a:pt x="74011" y="6690"/>
                  </a:lnTo>
                  <a:lnTo>
                    <a:pt x="74011" y="71215"/>
                  </a:lnTo>
                  <a:cubicBezTo>
                    <a:pt x="74011" y="86885"/>
                    <a:pt x="67559" y="96102"/>
                    <a:pt x="54654" y="96102"/>
                  </a:cubicBezTo>
                  <a:cubicBezTo>
                    <a:pt x="41749" y="96102"/>
                    <a:pt x="35297" y="86885"/>
                    <a:pt x="35297" y="71215"/>
                  </a:cubicBezTo>
                  <a:lnTo>
                    <a:pt x="35297" y="6690"/>
                  </a:lnTo>
                  <a:lnTo>
                    <a:pt x="6722" y="6690"/>
                  </a:lnTo>
                  <a:lnTo>
                    <a:pt x="6722" y="71215"/>
                  </a:lnTo>
                  <a:cubicBezTo>
                    <a:pt x="5800" y="106242"/>
                    <a:pt x="25157" y="121912"/>
                    <a:pt x="53732" y="121912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11624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/>
          </p:nvPr>
        </p:nvSpPr>
        <p:spPr>
          <a:xfrm>
            <a:off x="480000" y="1440000"/>
            <a:ext cx="11280000" cy="4860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4" name="Foliennummernplatzhalter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ru-RU"/>
              <a:t>Page </a:t>
            </a:r>
            <a:fld id="{47D3EC12-D41B-48E4-9D34-E27195668692}" type="slidenum">
              <a:rPr lang="en-GB" altLang="ru-RU"/>
              <a:pPr/>
              <a:t>‹#›</a:t>
            </a:fld>
            <a:endParaRPr lang="de-DE" altLang="ru-RU" b="0"/>
          </a:p>
        </p:txBody>
      </p:sp>
      <p:sp>
        <p:nvSpPr>
          <p:cNvPr id="5" name="Fußzeilenplatzhalter 1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77058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3A8007CF-EEE0-41C5-BE50-6D3D1409D2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7337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0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B05B3576-554F-4179-BB20-8D8CFB73E57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="" xmlns:a16="http://schemas.microsoft.com/office/drawing/2014/main" id="{B69D320D-B05B-4994-8050-65DA2352C8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7375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4CCE5476-60EA-4A2C-AE03-469AAF4B215D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BF47283-F1A7-4916-B096-5163DBA927DA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DF4E9BA6-9407-471E-8BE0-3C644DED8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5799036" y="6607764"/>
            <a:ext cx="4356000" cy="143121"/>
          </a:xfrm>
          <a:prstGeom prst="rect">
            <a:avLst/>
          </a:prstGeom>
        </p:spPr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D560EEBD-8A3A-4045-A507-02F35C8CE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algn="r">
              <a:defRPr/>
            </a:lvl6pPr>
            <a:lvl7pPr algn="r">
              <a:defRPr/>
            </a:lvl7pPr>
            <a:lvl8pPr algn="r">
              <a:defRPr/>
            </a:lvl8pPr>
            <a:lvl9pPr algn="r">
              <a:defRPr/>
            </a:lvl9pPr>
          </a:lstStyle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7381E464-80E6-4F2F-A2B9-1422ED13F1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5" y="346076"/>
            <a:ext cx="11017249" cy="72008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="" xmlns:a16="http://schemas.microsoft.com/office/drawing/2014/main" id="{ADE5B64C-E1D3-4D5D-B7D1-7D9F8B883605}"/>
              </a:ext>
            </a:extLst>
          </p:cNvPr>
          <p:cNvSpPr>
            <a:spLocks noGrp="1"/>
          </p:cNvSpPr>
          <p:nvPr>
            <p:ph type="subTitle" idx="13"/>
          </p:nvPr>
        </p:nvSpPr>
        <p:spPr bwMode="gray">
          <a:xfrm>
            <a:off x="587374" y="1268413"/>
            <a:ext cx="11016000" cy="435600"/>
          </a:xfrm>
        </p:spPr>
        <p:txBody>
          <a:bodyPr/>
          <a:lstStyle>
            <a:lvl1pPr marL="0" indent="0" algn="l">
              <a:spcAft>
                <a:spcPts val="600"/>
              </a:spcAft>
              <a:buNone/>
              <a:defRPr sz="1800" cap="all" baseline="0">
                <a:solidFill>
                  <a:schemeClr val="tx2"/>
                </a:solidFill>
              </a:defRPr>
            </a:lvl1pPr>
            <a:lvl2pPr marL="0" indent="0" algn="l">
              <a:buNone/>
              <a:defRPr sz="1800" cap="all" baseline="0">
                <a:solidFill>
                  <a:schemeClr val="tx2"/>
                </a:solidFill>
              </a:defRPr>
            </a:lvl2pPr>
            <a:lvl3pPr marL="0" indent="0" algn="l">
              <a:buNone/>
              <a:defRPr sz="1800" cap="all" baseline="0">
                <a:solidFill>
                  <a:schemeClr val="tx2"/>
                </a:solidFill>
              </a:defRPr>
            </a:lvl3pPr>
            <a:lvl4pPr marL="0" indent="0" algn="l">
              <a:buNone/>
              <a:defRPr sz="1800" cap="all" baseline="0">
                <a:solidFill>
                  <a:schemeClr val="tx2"/>
                </a:solidFill>
              </a:defRPr>
            </a:lvl4pPr>
            <a:lvl5pPr marL="0" indent="0" algn="l">
              <a:buNone/>
              <a:defRPr sz="1800" cap="all" baseline="0">
                <a:solidFill>
                  <a:schemeClr val="tx2"/>
                </a:solidFill>
              </a:defRPr>
            </a:lvl5pPr>
            <a:lvl6pPr marL="0" indent="0" algn="l">
              <a:buNone/>
              <a:defRPr sz="1800" cap="all" baseline="0">
                <a:solidFill>
                  <a:schemeClr val="tx2"/>
                </a:solidFill>
              </a:defRPr>
            </a:lvl6pPr>
            <a:lvl7pPr marL="0" indent="0" algn="l">
              <a:buNone/>
              <a:defRPr sz="1800" cap="all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cap="all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="" xmlns:a16="http://schemas.microsoft.com/office/drawing/2014/main" id="{A0A8AB13-273B-4950-9E7D-330FBDC08C13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587375" y="1773243"/>
            <a:ext cx="11017249" cy="424813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11640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B563D07-3778-41AA-AA5E-869AE83DC4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E69818AD-475C-47DB-9DA4-F0DA8AD140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65D09092-BD4A-4086-9E00-BF130524CD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862DE-E43B-49B7-AE0B-33B68100BBD3}" type="datetimeFigureOut">
              <a:rPr lang="de-DE" smtClean="0"/>
              <a:t>29.04.20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A271B244-AEDD-4D97-B759-35BB16258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.Гуревич, О.Кодюшева </a:t>
            </a:r>
            <a:r>
              <a:rPr lang="de-DE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6FEE6671-F8A2-4BED-A8CD-747416BEC5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E7B345-601B-47BC-9AC1-C3602E949AA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42468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+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44659CF2-7763-4445-B434-3363F9CD86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80776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6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44659CF2-7763-4445-B434-3363F9CD8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="" xmlns:a16="http://schemas.microsoft.com/office/drawing/2014/main" id="{601543C5-6E52-4E98-A68A-32C170EDB65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="" xmlns:a16="http://schemas.microsoft.com/office/drawing/2014/main" id="{A109580D-1DB4-41E3-9DF3-DABBDDD31850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>
            <a:lvl1pPr>
              <a:defRPr>
                <a:noFill/>
              </a:defRPr>
            </a:lvl1pPr>
          </a:lstStyle>
          <a:p>
            <a:fld id="{BBFEEF52-FC71-4FB6-8150-D229B3F24A7D}" type="datetime1">
              <a:rPr lang="en-US" noProof="0" smtClean="0"/>
              <a:pPr/>
              <a:t>4/29/2020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DDD741F1-BDA1-4B10-AC8E-99851215E70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DBE9F0FB-EDB0-4852-80E5-7A6E52FAE69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9" name="Bildplatzhalter 2">
            <a:extLst>
              <a:ext uri="{FF2B5EF4-FFF2-40B4-BE49-F238E27FC236}">
                <a16:creationId xmlns="" xmlns:a16="http://schemas.microsoft.com/office/drawing/2014/main" id="{14214412-13AC-47A4-9A59-A1F9CF77EA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 bwMode="gray">
          <a:xfrm>
            <a:off x="-12418" y="1065607"/>
            <a:ext cx="6108418" cy="5461192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 noProof="0"/>
          </a:p>
        </p:txBody>
      </p:sp>
      <p:cxnSp>
        <p:nvCxnSpPr>
          <p:cNvPr id="86" name="Gerader Verbinder 85">
            <a:extLst>
              <a:ext uri="{FF2B5EF4-FFF2-40B4-BE49-F238E27FC236}">
                <a16:creationId xmlns="" xmlns:a16="http://schemas.microsoft.com/office/drawing/2014/main" id="{9A2BE26A-4B66-4B6C-A892-1507538FA03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896726" y="1065607"/>
            <a:ext cx="0" cy="54684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="" xmlns:a16="http://schemas.microsoft.com/office/drawing/2014/main" id="{64CA740A-CCE9-48DA-9D08-EE659D7D5DD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88131" y="1070369"/>
            <a:ext cx="1161288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="" xmlns:a16="http://schemas.microsoft.com/office/drawing/2014/main" id="{F69EC894-98E8-4915-99E4-D2FF47A6D46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88131" y="6529388"/>
            <a:ext cx="1161288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itle 40">
            <a:extLst>
              <a:ext uri="{FF2B5EF4-FFF2-40B4-BE49-F238E27FC236}">
                <a16:creationId xmlns="" xmlns:a16="http://schemas.microsoft.com/office/drawing/2014/main" id="{4979BB30-30AD-4DB6-977B-17F07280743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-2382" y="1036800"/>
            <a:ext cx="6130800" cy="5544000"/>
          </a:xfr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756000" tIns="0" rIns="1620000" bIns="54000" anchor="ctr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8" name="Textplatzhalter 7">
            <a:extLst>
              <a:ext uri="{FF2B5EF4-FFF2-40B4-BE49-F238E27FC236}">
                <a16:creationId xmlns="" xmlns:a16="http://schemas.microsoft.com/office/drawing/2014/main" id="{32B0F6C6-EBC4-4F06-A421-EF0E7FF65F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7708900" y="1668463"/>
            <a:ext cx="3895200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/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90" name="Textplatzhalter 7">
            <a:extLst>
              <a:ext uri="{FF2B5EF4-FFF2-40B4-BE49-F238E27FC236}">
                <a16:creationId xmlns="" xmlns:a16="http://schemas.microsoft.com/office/drawing/2014/main" id="{F97DF401-E1F2-4623-BE8E-E2347EAB09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7708900" y="2417763"/>
            <a:ext cx="3895200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91" name="Textplatzhalter 7">
            <a:extLst>
              <a:ext uri="{FF2B5EF4-FFF2-40B4-BE49-F238E27FC236}">
                <a16:creationId xmlns="" xmlns:a16="http://schemas.microsoft.com/office/drawing/2014/main" id="{749D4BCF-8612-4010-8AD0-74544ACF054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7708900" y="3167063"/>
            <a:ext cx="3895200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92" name="Textplatzhalter 7">
            <a:extLst>
              <a:ext uri="{FF2B5EF4-FFF2-40B4-BE49-F238E27FC236}">
                <a16:creationId xmlns="" xmlns:a16="http://schemas.microsoft.com/office/drawing/2014/main" id="{203229CD-8C7B-4F34-92A4-F435C2E0455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7708900" y="3903663"/>
            <a:ext cx="3895200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93" name="Textplatzhalter 7">
            <a:extLst>
              <a:ext uri="{FF2B5EF4-FFF2-40B4-BE49-F238E27FC236}">
                <a16:creationId xmlns="" xmlns:a16="http://schemas.microsoft.com/office/drawing/2014/main" id="{87BA3027-8749-4973-A720-77AF36606B4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7708900" y="4640263"/>
            <a:ext cx="3895200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94" name="Textplatzhalter 7">
            <a:extLst>
              <a:ext uri="{FF2B5EF4-FFF2-40B4-BE49-F238E27FC236}">
                <a16:creationId xmlns="" xmlns:a16="http://schemas.microsoft.com/office/drawing/2014/main" id="{23142013-009A-4428-9C57-3FDF99F326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7708900" y="5436786"/>
            <a:ext cx="3895200" cy="496887"/>
          </a:xfrm>
        </p:spPr>
        <p:txBody>
          <a:bodyPr anchor="ctr"/>
          <a:lstStyle>
            <a:lvl1pPr marL="0" indent="0" eaLnBrk="1"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1pPr>
            <a:lvl2pPr marL="0" indent="0">
              <a:buNone/>
              <a:defRPr sz="1600" b="1" cap="all" baseline="0"/>
            </a:lvl2pPr>
            <a:lvl3pPr marL="0" indent="0">
              <a:buNone/>
              <a:defRPr sz="1600" b="1" cap="all" baseline="0"/>
            </a:lvl3pPr>
            <a:lvl4pPr marL="0" indent="0">
              <a:buNone/>
              <a:defRPr sz="1600" b="1" cap="all" baseline="0"/>
            </a:lvl4pPr>
            <a:lvl5pPr marL="0" indent="0">
              <a:buNone/>
              <a:defRPr sz="1600" b="1" cap="all" baseline="0"/>
            </a:lvl5pPr>
            <a:lvl6pPr marL="0" indent="0">
              <a:buNone/>
              <a:defRPr sz="1600" b="1" cap="all" baseline="0"/>
            </a:lvl6pPr>
            <a:lvl7pPr marL="0" indent="0">
              <a:buNone/>
              <a:defRPr sz="1600" b="1" cap="all" baseline="0"/>
            </a:lvl7pPr>
            <a:lvl8pPr marL="0" indent="0">
              <a:buNone/>
              <a:defRPr sz="1600" b="1" cap="all" baseline="0">
                <a:solidFill>
                  <a:schemeClr val="tx1"/>
                </a:solidFill>
              </a:defRPr>
            </a:lvl8pPr>
            <a:lvl9pPr marL="0" indent="0">
              <a:buNone/>
              <a:defRPr sz="1600" b="1" cap="all" baseline="0"/>
            </a:lvl9pPr>
          </a:lstStyle>
          <a:p>
            <a:pPr lvl="0"/>
            <a:endParaRPr lang="en-US" noProof="0"/>
          </a:p>
        </p:txBody>
      </p:sp>
      <p:sp>
        <p:nvSpPr>
          <p:cNvPr id="95" name="Textplatzhalter 7">
            <a:extLst>
              <a:ext uri="{FF2B5EF4-FFF2-40B4-BE49-F238E27FC236}">
                <a16:creationId xmlns="" xmlns:a16="http://schemas.microsoft.com/office/drawing/2014/main" id="{B0A0434E-591B-4697-90F5-5E08084C67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007190" y="1668550"/>
            <a:ext cx="496801" cy="4968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96" name="Textplatzhalter 7">
            <a:extLst>
              <a:ext uri="{FF2B5EF4-FFF2-40B4-BE49-F238E27FC236}">
                <a16:creationId xmlns="" xmlns:a16="http://schemas.microsoft.com/office/drawing/2014/main" id="{89BF731B-524F-49BB-A7C3-CDDE868820F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007190" y="2422215"/>
            <a:ext cx="496801" cy="4968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97" name="Textplatzhalter 7">
            <a:extLst>
              <a:ext uri="{FF2B5EF4-FFF2-40B4-BE49-F238E27FC236}">
                <a16:creationId xmlns="" xmlns:a16="http://schemas.microsoft.com/office/drawing/2014/main" id="{5A7BCAD4-36C4-44E8-8224-A845175D9E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007190" y="3175880"/>
            <a:ext cx="496801" cy="4968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98" name="Textplatzhalter 7">
            <a:extLst>
              <a:ext uri="{FF2B5EF4-FFF2-40B4-BE49-F238E27FC236}">
                <a16:creationId xmlns="" xmlns:a16="http://schemas.microsoft.com/office/drawing/2014/main" id="{BECE6702-B672-46FE-BE91-034E7999E7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7007190" y="3929545"/>
            <a:ext cx="496801" cy="4968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99" name="Textplatzhalter 7">
            <a:extLst>
              <a:ext uri="{FF2B5EF4-FFF2-40B4-BE49-F238E27FC236}">
                <a16:creationId xmlns="" xmlns:a16="http://schemas.microsoft.com/office/drawing/2014/main" id="{11734246-4BC7-40B1-92A1-B59632A05D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007190" y="4683210"/>
            <a:ext cx="496801" cy="4968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100" name="Textplatzhalter 7">
            <a:extLst>
              <a:ext uri="{FF2B5EF4-FFF2-40B4-BE49-F238E27FC236}">
                <a16:creationId xmlns="" xmlns:a16="http://schemas.microsoft.com/office/drawing/2014/main" id="{F1C3EFD8-ECA5-454E-A651-94A003372B8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7007190" y="5436873"/>
            <a:ext cx="496801" cy="4968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 cap="all" baseline="0">
                <a:solidFill>
                  <a:schemeClr val="bg1"/>
                </a:solidFill>
              </a:defRPr>
            </a:lvl1pPr>
            <a:lvl2pPr marL="0" indent="0" algn="ctr">
              <a:buNone/>
              <a:defRPr sz="2400" b="1" cap="all" baseline="0">
                <a:solidFill>
                  <a:schemeClr val="bg1"/>
                </a:solidFill>
              </a:defRPr>
            </a:lvl2pPr>
            <a:lvl3pPr marL="0" indent="0" algn="ctr">
              <a:buNone/>
              <a:defRPr sz="2400" b="1" cap="all" baseline="0">
                <a:solidFill>
                  <a:schemeClr val="bg1"/>
                </a:solidFill>
              </a:defRPr>
            </a:lvl3pPr>
            <a:lvl4pPr marL="0" indent="0" algn="ctr">
              <a:buNone/>
              <a:defRPr sz="2400" b="1" cap="all" baseline="0">
                <a:solidFill>
                  <a:schemeClr val="bg1"/>
                </a:solidFill>
              </a:defRPr>
            </a:lvl4pPr>
            <a:lvl5pPr marL="0" indent="0" algn="ctr">
              <a:buNone/>
              <a:defRPr sz="2400" b="1" cap="all" baseline="0">
                <a:solidFill>
                  <a:schemeClr val="bg1"/>
                </a:solidFill>
              </a:defRPr>
            </a:lvl5pPr>
            <a:lvl6pPr marL="0" indent="0" algn="ctr">
              <a:buNone/>
              <a:defRPr sz="2400" b="1" cap="all" baseline="0">
                <a:solidFill>
                  <a:schemeClr val="bg1"/>
                </a:solidFill>
              </a:defRPr>
            </a:lvl6pPr>
            <a:lvl7pPr marL="0" indent="0" algn="ctr">
              <a:buNone/>
              <a:defRPr sz="2400" b="1" cap="all" baseline="0">
                <a:solidFill>
                  <a:schemeClr val="bg1"/>
                </a:solidFill>
              </a:defRPr>
            </a:lvl7pPr>
            <a:lvl8pPr marL="0" indent="0" algn="ctr">
              <a:buNone/>
              <a:defRPr sz="2400" b="1" cap="all" baseline="0">
                <a:solidFill>
                  <a:schemeClr val="bg1"/>
                </a:solidFill>
              </a:defRPr>
            </a:lvl8pPr>
            <a:lvl9pPr marL="0" indent="0" algn="ctr">
              <a:buNone/>
              <a:defRPr sz="24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grpSp>
        <p:nvGrpSpPr>
          <p:cNvPr id="50" name="Gruppieren 49">
            <a:extLst>
              <a:ext uri="{FF2B5EF4-FFF2-40B4-BE49-F238E27FC236}">
                <a16:creationId xmlns="" xmlns:a16="http://schemas.microsoft.com/office/drawing/2014/main" id="{25465E00-7E3A-4844-9689-98C7A3EC1D19}"/>
              </a:ext>
            </a:extLst>
          </p:cNvPr>
          <p:cNvGrpSpPr/>
          <p:nvPr userDrawn="1"/>
        </p:nvGrpSpPr>
        <p:grpSpPr bwMode="gray">
          <a:xfrm>
            <a:off x="277530" y="326519"/>
            <a:ext cx="2196872" cy="482701"/>
            <a:chOff x="364785" y="474234"/>
            <a:chExt cx="1720030" cy="377928"/>
          </a:xfrm>
          <a:solidFill>
            <a:schemeClr val="tx2"/>
          </a:solidFill>
        </p:grpSpPr>
        <p:sp>
          <p:nvSpPr>
            <p:cNvPr id="67" name="Freihandform: Form 66">
              <a:extLst>
                <a:ext uri="{FF2B5EF4-FFF2-40B4-BE49-F238E27FC236}">
                  <a16:creationId xmlns="" xmlns:a16="http://schemas.microsoft.com/office/drawing/2014/main" id="{1B133D0F-4660-4ED2-8A97-630B1C91E037}"/>
                </a:ext>
              </a:extLst>
            </p:cNvPr>
            <p:cNvSpPr/>
            <p:nvPr/>
          </p:nvSpPr>
          <p:spPr bwMode="gray">
            <a:xfrm>
              <a:off x="364785" y="474234"/>
              <a:ext cx="479323" cy="129049"/>
            </a:xfrm>
            <a:custGeom>
              <a:avLst/>
              <a:gdLst>
                <a:gd name="connsiteX0" fmla="*/ 241743 w 479322"/>
                <a:gd name="connsiteY0" fmla="*/ 47248 h 129048"/>
                <a:gd name="connsiteX1" fmla="*/ 6690 w 479322"/>
                <a:gd name="connsiteY1" fmla="*/ 6690 h 129048"/>
                <a:gd name="connsiteX2" fmla="*/ 55544 w 479322"/>
                <a:gd name="connsiteY2" fmla="*/ 85963 h 129048"/>
                <a:gd name="connsiteX3" fmla="*/ 241743 w 479322"/>
                <a:gd name="connsiteY3" fmla="*/ 126521 h 129048"/>
                <a:gd name="connsiteX4" fmla="*/ 427019 w 479322"/>
                <a:gd name="connsiteY4" fmla="*/ 85963 h 129048"/>
                <a:gd name="connsiteX5" fmla="*/ 475873 w 479322"/>
                <a:gd name="connsiteY5" fmla="*/ 669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322" h="129048">
                  <a:moveTo>
                    <a:pt x="241743" y="47248"/>
                  </a:moveTo>
                  <a:lnTo>
                    <a:pt x="6690" y="6690"/>
                  </a:lnTo>
                  <a:lnTo>
                    <a:pt x="55544" y="85963"/>
                  </a:lnTo>
                  <a:lnTo>
                    <a:pt x="241743" y="126521"/>
                  </a:lnTo>
                  <a:lnTo>
                    <a:pt x="427019" y="85963"/>
                  </a:lnTo>
                  <a:lnTo>
                    <a:pt x="475873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="" xmlns:a16="http://schemas.microsoft.com/office/drawing/2014/main" id="{2034EEBC-5FAC-4E00-B690-B578B8B937AA}"/>
                </a:ext>
              </a:extLst>
            </p:cNvPr>
            <p:cNvSpPr/>
            <p:nvPr/>
          </p:nvSpPr>
          <p:spPr bwMode="gray">
            <a:xfrm>
              <a:off x="549140" y="759984"/>
              <a:ext cx="110613" cy="92178"/>
            </a:xfrm>
            <a:custGeom>
              <a:avLst/>
              <a:gdLst>
                <a:gd name="connsiteX0" fmla="*/ 57388 w 110612"/>
                <a:gd name="connsiteY0" fmla="*/ 87806 h 92177"/>
                <a:gd name="connsiteX1" fmla="*/ 107164 w 110612"/>
                <a:gd name="connsiteY1" fmla="*/ 6690 h 92177"/>
                <a:gd name="connsiteX2" fmla="*/ 57388 w 110612"/>
                <a:gd name="connsiteY2" fmla="*/ 20517 h 92177"/>
                <a:gd name="connsiteX3" fmla="*/ 6690 w 110612"/>
                <a:gd name="connsiteY3" fmla="*/ 6690 h 92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612" h="92177">
                  <a:moveTo>
                    <a:pt x="57388" y="87806"/>
                  </a:moveTo>
                  <a:lnTo>
                    <a:pt x="107164" y="6690"/>
                  </a:lnTo>
                  <a:lnTo>
                    <a:pt x="57388" y="20517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="" xmlns:a16="http://schemas.microsoft.com/office/drawing/2014/main" id="{B146475A-3F00-45B6-97FF-CA9BCCFFD0D9}"/>
                </a:ext>
              </a:extLst>
            </p:cNvPr>
            <p:cNvSpPr/>
            <p:nvPr/>
          </p:nvSpPr>
          <p:spPr bwMode="gray">
            <a:xfrm>
              <a:off x="456962" y="625405"/>
              <a:ext cx="294968" cy="101395"/>
            </a:xfrm>
            <a:custGeom>
              <a:avLst/>
              <a:gdLst>
                <a:gd name="connsiteX0" fmla="*/ 6690 w 294967"/>
                <a:gd name="connsiteY0" fmla="*/ 6690 h 101395"/>
                <a:gd name="connsiteX1" fmla="*/ 149565 w 294967"/>
                <a:gd name="connsiteY1" fmla="*/ 36187 h 101395"/>
                <a:gd name="connsiteX2" fmla="*/ 291519 w 294967"/>
                <a:gd name="connsiteY2" fmla="*/ 6690 h 101395"/>
                <a:gd name="connsiteX3" fmla="*/ 246352 w 294967"/>
                <a:gd name="connsiteY3" fmla="*/ 78589 h 101395"/>
                <a:gd name="connsiteX4" fmla="*/ 149565 w 294967"/>
                <a:gd name="connsiteY4" fmla="*/ 103477 h 101395"/>
                <a:gd name="connsiteX5" fmla="*/ 51857 w 294967"/>
                <a:gd name="connsiteY5" fmla="*/ 78589 h 10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967" h="101395">
                  <a:moveTo>
                    <a:pt x="6690" y="6690"/>
                  </a:moveTo>
                  <a:lnTo>
                    <a:pt x="149565" y="36187"/>
                  </a:lnTo>
                  <a:lnTo>
                    <a:pt x="291519" y="6690"/>
                  </a:lnTo>
                  <a:lnTo>
                    <a:pt x="246352" y="78589"/>
                  </a:lnTo>
                  <a:lnTo>
                    <a:pt x="149565" y="103477"/>
                  </a:lnTo>
                  <a:lnTo>
                    <a:pt x="51857" y="7858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="" xmlns:a16="http://schemas.microsoft.com/office/drawing/2014/main" id="{068A65C9-1513-47A0-99A7-D440A89434BD}"/>
                </a:ext>
              </a:extLst>
            </p:cNvPr>
            <p:cNvSpPr/>
            <p:nvPr/>
          </p:nvSpPr>
          <p:spPr bwMode="gray">
            <a:xfrm>
              <a:off x="1992638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="" xmlns:a16="http://schemas.microsoft.com/office/drawing/2014/main" id="{F5299577-3FA4-4CB6-9B35-F07937C49506}"/>
                </a:ext>
              </a:extLst>
            </p:cNvPr>
            <p:cNvSpPr/>
            <p:nvPr/>
          </p:nvSpPr>
          <p:spPr bwMode="gray">
            <a:xfrm>
              <a:off x="921536" y="714817"/>
              <a:ext cx="119831" cy="129049"/>
            </a:xfrm>
            <a:custGeom>
              <a:avLst/>
              <a:gdLst>
                <a:gd name="connsiteX0" fmla="*/ 90572 w 119830"/>
                <a:gd name="connsiteY0" fmla="*/ 119147 h 129048"/>
                <a:gd name="connsiteX1" fmla="*/ 90572 w 119830"/>
                <a:gd name="connsiteY1" fmla="*/ 61997 h 129048"/>
                <a:gd name="connsiteX2" fmla="*/ 61997 w 119830"/>
                <a:gd name="connsiteY2" fmla="*/ 122834 h 129048"/>
                <a:gd name="connsiteX3" fmla="*/ 33422 w 119830"/>
                <a:gd name="connsiteY3" fmla="*/ 61997 h 129048"/>
                <a:gd name="connsiteX4" fmla="*/ 33422 w 119830"/>
                <a:gd name="connsiteY4" fmla="*/ 119147 h 129048"/>
                <a:gd name="connsiteX5" fmla="*/ 6690 w 119830"/>
                <a:gd name="connsiteY5" fmla="*/ 119147 h 129048"/>
                <a:gd name="connsiteX6" fmla="*/ 6690 w 119830"/>
                <a:gd name="connsiteY6" fmla="*/ 6690 h 129048"/>
                <a:gd name="connsiteX7" fmla="*/ 33422 w 119830"/>
                <a:gd name="connsiteY7" fmla="*/ 6690 h 129048"/>
                <a:gd name="connsiteX8" fmla="*/ 61997 w 119830"/>
                <a:gd name="connsiteY8" fmla="*/ 69371 h 129048"/>
                <a:gd name="connsiteX9" fmla="*/ 90572 w 119830"/>
                <a:gd name="connsiteY9" fmla="*/ 6690 h 129048"/>
                <a:gd name="connsiteX10" fmla="*/ 117303 w 119830"/>
                <a:gd name="connsiteY10" fmla="*/ 6690 h 129048"/>
                <a:gd name="connsiteX11" fmla="*/ 117303 w 119830"/>
                <a:gd name="connsiteY11" fmla="*/ 119147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830" h="129048">
                  <a:moveTo>
                    <a:pt x="90572" y="119147"/>
                  </a:moveTo>
                  <a:lnTo>
                    <a:pt x="90572" y="61997"/>
                  </a:lnTo>
                  <a:lnTo>
                    <a:pt x="61997" y="122834"/>
                  </a:lnTo>
                  <a:lnTo>
                    <a:pt x="33422" y="61997"/>
                  </a:lnTo>
                  <a:lnTo>
                    <a:pt x="33422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33422" y="6690"/>
                  </a:lnTo>
                  <a:lnTo>
                    <a:pt x="61997" y="69371"/>
                  </a:lnTo>
                  <a:lnTo>
                    <a:pt x="90572" y="6690"/>
                  </a:lnTo>
                  <a:lnTo>
                    <a:pt x="117303" y="6690"/>
                  </a:lnTo>
                  <a:lnTo>
                    <a:pt x="117303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="" xmlns:a16="http://schemas.microsoft.com/office/drawing/2014/main" id="{8B00B3D5-32B6-4253-A203-3A2D54E50314}"/>
                </a:ext>
              </a:extLst>
            </p:cNvPr>
            <p:cNvSpPr/>
            <p:nvPr/>
          </p:nvSpPr>
          <p:spPr bwMode="gray">
            <a:xfrm>
              <a:off x="1154745" y="714817"/>
              <a:ext cx="101395" cy="119831"/>
            </a:xfrm>
            <a:custGeom>
              <a:avLst/>
              <a:gdLst>
                <a:gd name="connsiteX0" fmla="*/ 44483 w 101395"/>
                <a:gd name="connsiteY0" fmla="*/ 31578 h 119830"/>
                <a:gd name="connsiteX1" fmla="*/ 35265 w 101395"/>
                <a:gd name="connsiteY1" fmla="*/ 31578 h 119830"/>
                <a:gd name="connsiteX2" fmla="*/ 35265 w 101395"/>
                <a:gd name="connsiteY2" fmla="*/ 94259 h 119830"/>
                <a:gd name="connsiteX3" fmla="*/ 43561 w 101395"/>
                <a:gd name="connsiteY3" fmla="*/ 94259 h 119830"/>
                <a:gd name="connsiteX4" fmla="*/ 73058 w 101395"/>
                <a:gd name="connsiteY4" fmla="*/ 62919 h 119830"/>
                <a:gd name="connsiteX5" fmla="*/ 44483 w 101395"/>
                <a:gd name="connsiteY5" fmla="*/ 31578 h 119830"/>
                <a:gd name="connsiteX6" fmla="*/ 42640 w 101395"/>
                <a:gd name="connsiteY6" fmla="*/ 119147 h 119830"/>
                <a:gd name="connsiteX7" fmla="*/ 6690 w 101395"/>
                <a:gd name="connsiteY7" fmla="*/ 119147 h 119830"/>
                <a:gd name="connsiteX8" fmla="*/ 6690 w 101395"/>
                <a:gd name="connsiteY8" fmla="*/ 6690 h 119830"/>
                <a:gd name="connsiteX9" fmla="*/ 44483 w 101395"/>
                <a:gd name="connsiteY9" fmla="*/ 6690 h 119830"/>
                <a:gd name="connsiteX10" fmla="*/ 101633 w 101395"/>
                <a:gd name="connsiteY10" fmla="*/ 62919 h 119830"/>
                <a:gd name="connsiteX11" fmla="*/ 42640 w 101395"/>
                <a:gd name="connsiteY11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395" h="119830">
                  <a:moveTo>
                    <a:pt x="44483" y="31578"/>
                  </a:moveTo>
                  <a:lnTo>
                    <a:pt x="35265" y="31578"/>
                  </a:lnTo>
                  <a:lnTo>
                    <a:pt x="35265" y="94259"/>
                  </a:lnTo>
                  <a:lnTo>
                    <a:pt x="43561" y="94259"/>
                  </a:lnTo>
                  <a:cubicBezTo>
                    <a:pt x="64762" y="94259"/>
                    <a:pt x="73058" y="85041"/>
                    <a:pt x="73058" y="62919"/>
                  </a:cubicBezTo>
                  <a:cubicBezTo>
                    <a:pt x="73058" y="40796"/>
                    <a:pt x="65684" y="31578"/>
                    <a:pt x="44483" y="31578"/>
                  </a:cubicBezTo>
                  <a:moveTo>
                    <a:pt x="42640" y="119147"/>
                  </a:moveTo>
                  <a:lnTo>
                    <a:pt x="6690" y="119147"/>
                  </a:lnTo>
                  <a:lnTo>
                    <a:pt x="6690" y="6690"/>
                  </a:lnTo>
                  <a:lnTo>
                    <a:pt x="44483" y="6690"/>
                  </a:lnTo>
                  <a:cubicBezTo>
                    <a:pt x="78589" y="6690"/>
                    <a:pt x="101633" y="20517"/>
                    <a:pt x="101633" y="62919"/>
                  </a:cubicBezTo>
                  <a:cubicBezTo>
                    <a:pt x="102555" y="103477"/>
                    <a:pt x="78589" y="119147"/>
                    <a:pt x="42640" y="119147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="" xmlns:a16="http://schemas.microsoft.com/office/drawing/2014/main" id="{2F7F7065-A527-4043-B78A-B17FE5CFD51E}"/>
                </a:ext>
              </a:extLst>
            </p:cNvPr>
            <p:cNvSpPr/>
            <p:nvPr/>
          </p:nvSpPr>
          <p:spPr bwMode="gray">
            <a:xfrm>
              <a:off x="1266280" y="714817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19147 h 119830"/>
                <a:gd name="connsiteX3" fmla="*/ 6690 w 36870"/>
                <a:gd name="connsiteY3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19147"/>
                  </a:lnTo>
                  <a:lnTo>
                    <a:pt x="6690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="" xmlns:a16="http://schemas.microsoft.com/office/drawing/2014/main" id="{284A980B-3F64-487D-8AF6-EACF723E8F59}"/>
                </a:ext>
              </a:extLst>
            </p:cNvPr>
            <p:cNvSpPr/>
            <p:nvPr/>
          </p:nvSpPr>
          <p:spPr bwMode="gray">
            <a:xfrm>
              <a:off x="1311447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6606" y="32500"/>
                    <a:pt x="71214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="" xmlns:a16="http://schemas.microsoft.com/office/drawing/2014/main" id="{666304A5-64EE-4477-8661-B98956B83FB8}"/>
                </a:ext>
              </a:extLst>
            </p:cNvPr>
            <p:cNvSpPr/>
            <p:nvPr/>
          </p:nvSpPr>
          <p:spPr bwMode="gray">
            <a:xfrm>
              <a:off x="1407311" y="714817"/>
              <a:ext cx="119831" cy="119831"/>
            </a:xfrm>
            <a:custGeom>
              <a:avLst/>
              <a:gdLst>
                <a:gd name="connsiteX0" fmla="*/ 50935 w 119830"/>
                <a:gd name="connsiteY0" fmla="*/ 73980 h 119830"/>
                <a:gd name="connsiteX1" fmla="*/ 73058 w 119830"/>
                <a:gd name="connsiteY1" fmla="*/ 73980 h 119830"/>
                <a:gd name="connsiteX2" fmla="*/ 61997 w 119830"/>
                <a:gd name="connsiteY2" fmla="*/ 38031 h 119830"/>
                <a:gd name="connsiteX3" fmla="*/ 50935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935" y="73980"/>
                  </a:moveTo>
                  <a:lnTo>
                    <a:pt x="73058" y="73980"/>
                  </a:lnTo>
                  <a:lnTo>
                    <a:pt x="61997" y="38031"/>
                  </a:lnTo>
                  <a:lnTo>
                    <a:pt x="50935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="" xmlns:a16="http://schemas.microsoft.com/office/drawing/2014/main" id="{8F4E4067-35C1-48CE-83E3-0C3848C84E9A}"/>
                </a:ext>
              </a:extLst>
            </p:cNvPr>
            <p:cNvSpPr/>
            <p:nvPr/>
          </p:nvSpPr>
          <p:spPr bwMode="gray">
            <a:xfrm>
              <a:off x="1529907" y="714817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86885 w 92177"/>
                <a:gd name="connsiteY1" fmla="*/ 119147 h 119830"/>
                <a:gd name="connsiteX2" fmla="*/ 86885 w 92177"/>
                <a:gd name="connsiteY2" fmla="*/ 93337 h 119830"/>
                <a:gd name="connsiteX3" fmla="*/ 35265 w 92177"/>
                <a:gd name="connsiteY3" fmla="*/ 93337 h 119830"/>
                <a:gd name="connsiteX4" fmla="*/ 35265 w 92177"/>
                <a:gd name="connsiteY4" fmla="*/ 6690 h 119830"/>
                <a:gd name="connsiteX5" fmla="*/ 6690 w 92177"/>
                <a:gd name="connsiteY5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86885" y="119147"/>
                  </a:lnTo>
                  <a:lnTo>
                    <a:pt x="86885" y="93337"/>
                  </a:lnTo>
                  <a:lnTo>
                    <a:pt x="35265" y="93337"/>
                  </a:lnTo>
                  <a:lnTo>
                    <a:pt x="35265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="" xmlns:a16="http://schemas.microsoft.com/office/drawing/2014/main" id="{62346630-2AB0-43A0-B3A9-D2AFA726946B}"/>
                </a:ext>
              </a:extLst>
            </p:cNvPr>
            <p:cNvSpPr/>
            <p:nvPr/>
          </p:nvSpPr>
          <p:spPr bwMode="gray">
            <a:xfrm>
              <a:off x="1663564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7527" y="32500"/>
                    <a:pt x="72136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="" xmlns:a16="http://schemas.microsoft.com/office/drawing/2014/main" id="{DE5284D0-B324-4F31-BDE2-FA91291482F9}"/>
                </a:ext>
              </a:extLst>
            </p:cNvPr>
            <p:cNvSpPr/>
            <p:nvPr/>
          </p:nvSpPr>
          <p:spPr bwMode="gray">
            <a:xfrm>
              <a:off x="1760351" y="714817"/>
              <a:ext cx="119831" cy="119831"/>
            </a:xfrm>
            <a:custGeom>
              <a:avLst/>
              <a:gdLst>
                <a:gd name="connsiteX0" fmla="*/ 50014 w 119830"/>
                <a:gd name="connsiteY0" fmla="*/ 73980 h 119830"/>
                <a:gd name="connsiteX1" fmla="*/ 72136 w 119830"/>
                <a:gd name="connsiteY1" fmla="*/ 73980 h 119830"/>
                <a:gd name="connsiteX2" fmla="*/ 61075 w 119830"/>
                <a:gd name="connsiteY2" fmla="*/ 38031 h 119830"/>
                <a:gd name="connsiteX3" fmla="*/ 50014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014" y="73980"/>
                  </a:moveTo>
                  <a:lnTo>
                    <a:pt x="72136" y="73980"/>
                  </a:lnTo>
                  <a:lnTo>
                    <a:pt x="61075" y="38031"/>
                  </a:lnTo>
                  <a:lnTo>
                    <a:pt x="50014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="" xmlns:a16="http://schemas.microsoft.com/office/drawing/2014/main" id="{D0820F46-02AA-4B32-9679-6BEFC604E6E1}"/>
                </a:ext>
              </a:extLst>
            </p:cNvPr>
            <p:cNvSpPr/>
            <p:nvPr/>
          </p:nvSpPr>
          <p:spPr bwMode="gray">
            <a:xfrm>
              <a:off x="1882947" y="714817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1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1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="" xmlns:a16="http://schemas.microsoft.com/office/drawing/2014/main" id="{F6A872EC-A962-4E57-B2F3-ECA58EEB3B69}"/>
                </a:ext>
              </a:extLst>
            </p:cNvPr>
            <p:cNvSpPr/>
            <p:nvPr/>
          </p:nvSpPr>
          <p:spPr bwMode="gray">
            <a:xfrm>
              <a:off x="1054272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="" xmlns:a16="http://schemas.microsoft.com/office/drawing/2014/main" id="{33BCEDB5-2F3B-4CD7-B5EE-0026D84879E9}"/>
                </a:ext>
              </a:extLst>
            </p:cNvPr>
            <p:cNvSpPr/>
            <p:nvPr/>
          </p:nvSpPr>
          <p:spPr bwMode="gray">
            <a:xfrm>
              <a:off x="1695827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90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1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90" y="111773"/>
                    <a:pt x="99790" y="87807"/>
                  </a:cubicBezTo>
                  <a:cubicBezTo>
                    <a:pt x="99790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1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="" xmlns:a16="http://schemas.microsoft.com/office/drawing/2014/main" id="{F8658637-211B-48CA-8F09-A00D7E552C1A}"/>
                </a:ext>
              </a:extLst>
            </p:cNvPr>
            <p:cNvSpPr/>
            <p:nvPr/>
          </p:nvSpPr>
          <p:spPr bwMode="gray">
            <a:xfrm>
              <a:off x="921536" y="545210"/>
              <a:ext cx="92177" cy="119831"/>
            </a:xfrm>
            <a:custGeom>
              <a:avLst/>
              <a:gdLst>
                <a:gd name="connsiteX0" fmla="*/ 35265 w 92177"/>
                <a:gd name="connsiteY0" fmla="*/ 31578 h 119830"/>
                <a:gd name="connsiteX1" fmla="*/ 35265 w 92177"/>
                <a:gd name="connsiteY1" fmla="*/ 49092 h 119830"/>
                <a:gd name="connsiteX2" fmla="*/ 74902 w 92177"/>
                <a:gd name="connsiteY2" fmla="*/ 49092 h 119830"/>
                <a:gd name="connsiteX3" fmla="*/ 74902 w 92177"/>
                <a:gd name="connsiteY3" fmla="*/ 73980 h 119830"/>
                <a:gd name="connsiteX4" fmla="*/ 35265 w 92177"/>
                <a:gd name="connsiteY4" fmla="*/ 73980 h 119830"/>
                <a:gd name="connsiteX5" fmla="*/ 35265 w 92177"/>
                <a:gd name="connsiteY5" fmla="*/ 119147 h 119830"/>
                <a:gd name="connsiteX6" fmla="*/ 6690 w 92177"/>
                <a:gd name="connsiteY6" fmla="*/ 119147 h 119830"/>
                <a:gd name="connsiteX7" fmla="*/ 6690 w 92177"/>
                <a:gd name="connsiteY7" fmla="*/ 6690 h 119830"/>
                <a:gd name="connsiteX8" fmla="*/ 90572 w 92177"/>
                <a:gd name="connsiteY8" fmla="*/ 6690 h 119830"/>
                <a:gd name="connsiteX9" fmla="*/ 90572 w 92177"/>
                <a:gd name="connsiteY9" fmla="*/ 31578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177" h="119830">
                  <a:moveTo>
                    <a:pt x="35265" y="31578"/>
                  </a:moveTo>
                  <a:lnTo>
                    <a:pt x="35265" y="49092"/>
                  </a:lnTo>
                  <a:lnTo>
                    <a:pt x="74902" y="49092"/>
                  </a:lnTo>
                  <a:lnTo>
                    <a:pt x="74902" y="73980"/>
                  </a:lnTo>
                  <a:lnTo>
                    <a:pt x="35265" y="73980"/>
                  </a:lnTo>
                  <a:lnTo>
                    <a:pt x="35265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90572" y="6690"/>
                  </a:lnTo>
                  <a:lnTo>
                    <a:pt x="90572" y="31578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="" xmlns:a16="http://schemas.microsoft.com/office/drawing/2014/main" id="{36237D2D-F2D3-4941-BCE1-DCC3F3DBD1B2}"/>
                </a:ext>
              </a:extLst>
            </p:cNvPr>
            <p:cNvSpPr/>
            <p:nvPr/>
          </p:nvSpPr>
          <p:spPr bwMode="gray">
            <a:xfrm>
              <a:off x="1017401" y="545210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0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0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="" xmlns:a16="http://schemas.microsoft.com/office/drawing/2014/main" id="{F361C1A4-7C82-42B6-8D93-CE504F71918D}"/>
                </a:ext>
              </a:extLst>
            </p:cNvPr>
            <p:cNvSpPr/>
            <p:nvPr/>
          </p:nvSpPr>
          <p:spPr bwMode="gray">
            <a:xfrm>
              <a:off x="1127092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1494 w 92177"/>
                <a:gd name="connsiteY1" fmla="*/ 119147 h 119830"/>
                <a:gd name="connsiteX2" fmla="*/ 91494 w 92177"/>
                <a:gd name="connsiteY2" fmla="*/ 94259 h 119830"/>
                <a:gd name="connsiteX3" fmla="*/ 34344 w 92177"/>
                <a:gd name="connsiteY3" fmla="*/ 94259 h 119830"/>
                <a:gd name="connsiteX4" fmla="*/ 34344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4344 w 92177"/>
                <a:gd name="connsiteY7" fmla="*/ 48170 h 119830"/>
                <a:gd name="connsiteX8" fmla="*/ 34344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1494" y="119147"/>
                  </a:lnTo>
                  <a:lnTo>
                    <a:pt x="91494" y="94259"/>
                  </a:lnTo>
                  <a:lnTo>
                    <a:pt x="34344" y="94259"/>
                  </a:lnTo>
                  <a:lnTo>
                    <a:pt x="34344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4344" y="48170"/>
                  </a:lnTo>
                  <a:lnTo>
                    <a:pt x="34344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="" xmlns:a16="http://schemas.microsoft.com/office/drawing/2014/main" id="{A84C5983-AFA2-458E-B212-D1ACD278096C}"/>
                </a:ext>
              </a:extLst>
            </p:cNvPr>
            <p:cNvSpPr/>
            <p:nvPr/>
          </p:nvSpPr>
          <p:spPr bwMode="gray">
            <a:xfrm>
              <a:off x="1217426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89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0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89" y="111773"/>
                    <a:pt x="99789" y="87807"/>
                  </a:cubicBezTo>
                  <a:cubicBezTo>
                    <a:pt x="99789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0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="" xmlns:a16="http://schemas.microsoft.com/office/drawing/2014/main" id="{FFAF1944-A705-4571-B703-C90E85A878B0}"/>
                </a:ext>
              </a:extLst>
            </p:cNvPr>
            <p:cNvSpPr/>
            <p:nvPr/>
          </p:nvSpPr>
          <p:spPr bwMode="gray">
            <a:xfrm>
              <a:off x="1325273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2415 w 92177"/>
                <a:gd name="connsiteY1" fmla="*/ 119147 h 119830"/>
                <a:gd name="connsiteX2" fmla="*/ 92415 w 92177"/>
                <a:gd name="connsiteY2" fmla="*/ 94259 h 119830"/>
                <a:gd name="connsiteX3" fmla="*/ 35265 w 92177"/>
                <a:gd name="connsiteY3" fmla="*/ 94259 h 119830"/>
                <a:gd name="connsiteX4" fmla="*/ 35265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8728 w 92177"/>
                <a:gd name="connsiteY9" fmla="*/ 31578 h 119830"/>
                <a:gd name="connsiteX10" fmla="*/ 88728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2415" y="119147"/>
                  </a:lnTo>
                  <a:lnTo>
                    <a:pt x="92415" y="94259"/>
                  </a:lnTo>
                  <a:lnTo>
                    <a:pt x="35265" y="94259"/>
                  </a:lnTo>
                  <a:lnTo>
                    <a:pt x="35265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8728" y="31578"/>
                  </a:lnTo>
                  <a:lnTo>
                    <a:pt x="88728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="" xmlns:a16="http://schemas.microsoft.com/office/drawing/2014/main" id="{9F540139-F17A-4769-B756-4C3E5A135CA8}"/>
                </a:ext>
              </a:extLst>
            </p:cNvPr>
            <p:cNvSpPr/>
            <p:nvPr/>
          </p:nvSpPr>
          <p:spPr bwMode="gray">
            <a:xfrm>
              <a:off x="1424825" y="545210"/>
              <a:ext cx="101395" cy="119831"/>
            </a:xfrm>
            <a:custGeom>
              <a:avLst/>
              <a:gdLst>
                <a:gd name="connsiteX0" fmla="*/ 79510 w 101395"/>
                <a:gd name="connsiteY0" fmla="*/ 119147 h 119830"/>
                <a:gd name="connsiteX1" fmla="*/ 103477 w 101395"/>
                <a:gd name="connsiteY1" fmla="*/ 119147 h 119830"/>
                <a:gd name="connsiteX2" fmla="*/ 103477 w 101395"/>
                <a:gd name="connsiteY2" fmla="*/ 6690 h 119830"/>
                <a:gd name="connsiteX3" fmla="*/ 75823 w 101395"/>
                <a:gd name="connsiteY3" fmla="*/ 6690 h 119830"/>
                <a:gd name="connsiteX4" fmla="*/ 75823 w 101395"/>
                <a:gd name="connsiteY4" fmla="*/ 67527 h 119830"/>
                <a:gd name="connsiteX5" fmla="*/ 31578 w 101395"/>
                <a:gd name="connsiteY5" fmla="*/ 6690 h 119830"/>
                <a:gd name="connsiteX6" fmla="*/ 6690 w 101395"/>
                <a:gd name="connsiteY6" fmla="*/ 6690 h 119830"/>
                <a:gd name="connsiteX7" fmla="*/ 6690 w 101395"/>
                <a:gd name="connsiteY7" fmla="*/ 119147 h 119830"/>
                <a:gd name="connsiteX8" fmla="*/ 33422 w 101395"/>
                <a:gd name="connsiteY8" fmla="*/ 119147 h 119830"/>
                <a:gd name="connsiteX9" fmla="*/ 33422 w 101395"/>
                <a:gd name="connsiteY9" fmla="*/ 54623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395" h="119830">
                  <a:moveTo>
                    <a:pt x="79510" y="119147"/>
                  </a:moveTo>
                  <a:lnTo>
                    <a:pt x="103477" y="119147"/>
                  </a:lnTo>
                  <a:lnTo>
                    <a:pt x="103477" y="6690"/>
                  </a:lnTo>
                  <a:lnTo>
                    <a:pt x="75823" y="6690"/>
                  </a:lnTo>
                  <a:lnTo>
                    <a:pt x="75823" y="67527"/>
                  </a:lnTo>
                  <a:lnTo>
                    <a:pt x="31578" y="6690"/>
                  </a:lnTo>
                  <a:lnTo>
                    <a:pt x="6690" y="6690"/>
                  </a:lnTo>
                  <a:lnTo>
                    <a:pt x="6690" y="119147"/>
                  </a:lnTo>
                  <a:lnTo>
                    <a:pt x="33422" y="119147"/>
                  </a:lnTo>
                  <a:lnTo>
                    <a:pt x="33422" y="54623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="" xmlns:a16="http://schemas.microsoft.com/office/drawing/2014/main" id="{3F886F2A-756D-47B9-8DC0-451E68CEED5A}"/>
                </a:ext>
              </a:extLst>
            </p:cNvPr>
            <p:cNvSpPr/>
            <p:nvPr/>
          </p:nvSpPr>
          <p:spPr bwMode="gray">
            <a:xfrm>
              <a:off x="1541890" y="545210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20069 h 119830"/>
                <a:gd name="connsiteX3" fmla="*/ 6690 w 36870"/>
                <a:gd name="connsiteY3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20069"/>
                  </a:lnTo>
                  <a:lnTo>
                    <a:pt x="6690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="" xmlns:a16="http://schemas.microsoft.com/office/drawing/2014/main" id="{6F7CD610-A055-465A-9A60-9D2DE2CEF269}"/>
                </a:ext>
              </a:extLst>
            </p:cNvPr>
            <p:cNvSpPr/>
            <p:nvPr/>
          </p:nvSpPr>
          <p:spPr bwMode="gray">
            <a:xfrm>
              <a:off x="1590713" y="544289"/>
              <a:ext cx="101395" cy="119831"/>
            </a:xfrm>
            <a:custGeom>
              <a:avLst/>
              <a:gdLst>
                <a:gd name="connsiteX0" fmla="*/ 53732 w 101395"/>
                <a:gd name="connsiteY0" fmla="*/ 121912 h 119830"/>
                <a:gd name="connsiteX1" fmla="*/ 102586 w 101395"/>
                <a:gd name="connsiteY1" fmla="*/ 71215 h 119830"/>
                <a:gd name="connsiteX2" fmla="*/ 102586 w 101395"/>
                <a:gd name="connsiteY2" fmla="*/ 6690 h 119830"/>
                <a:gd name="connsiteX3" fmla="*/ 74011 w 101395"/>
                <a:gd name="connsiteY3" fmla="*/ 6690 h 119830"/>
                <a:gd name="connsiteX4" fmla="*/ 74011 w 101395"/>
                <a:gd name="connsiteY4" fmla="*/ 71215 h 119830"/>
                <a:gd name="connsiteX5" fmla="*/ 54654 w 101395"/>
                <a:gd name="connsiteY5" fmla="*/ 96102 h 119830"/>
                <a:gd name="connsiteX6" fmla="*/ 35297 w 101395"/>
                <a:gd name="connsiteY6" fmla="*/ 71215 h 119830"/>
                <a:gd name="connsiteX7" fmla="*/ 35297 w 101395"/>
                <a:gd name="connsiteY7" fmla="*/ 6690 h 119830"/>
                <a:gd name="connsiteX8" fmla="*/ 6722 w 101395"/>
                <a:gd name="connsiteY8" fmla="*/ 6690 h 119830"/>
                <a:gd name="connsiteX9" fmla="*/ 6722 w 101395"/>
                <a:gd name="connsiteY9" fmla="*/ 71215 h 119830"/>
                <a:gd name="connsiteX10" fmla="*/ 53732 w 101395"/>
                <a:gd name="connsiteY10" fmla="*/ 121912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19830">
                  <a:moveTo>
                    <a:pt x="53732" y="121912"/>
                  </a:moveTo>
                  <a:cubicBezTo>
                    <a:pt x="82307" y="121912"/>
                    <a:pt x="102586" y="106242"/>
                    <a:pt x="102586" y="71215"/>
                  </a:cubicBezTo>
                  <a:lnTo>
                    <a:pt x="102586" y="6690"/>
                  </a:lnTo>
                  <a:lnTo>
                    <a:pt x="74011" y="6690"/>
                  </a:lnTo>
                  <a:lnTo>
                    <a:pt x="74011" y="71215"/>
                  </a:lnTo>
                  <a:cubicBezTo>
                    <a:pt x="74011" y="86885"/>
                    <a:pt x="67559" y="96102"/>
                    <a:pt x="54654" y="96102"/>
                  </a:cubicBezTo>
                  <a:cubicBezTo>
                    <a:pt x="41749" y="96102"/>
                    <a:pt x="35297" y="86885"/>
                    <a:pt x="35297" y="71215"/>
                  </a:cubicBezTo>
                  <a:lnTo>
                    <a:pt x="35297" y="6690"/>
                  </a:lnTo>
                  <a:lnTo>
                    <a:pt x="6722" y="6690"/>
                  </a:lnTo>
                  <a:lnTo>
                    <a:pt x="6722" y="71215"/>
                  </a:lnTo>
                  <a:cubicBezTo>
                    <a:pt x="5800" y="106242"/>
                    <a:pt x="25157" y="121912"/>
                    <a:pt x="53732" y="121912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23406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2">
            <a:extLst>
              <a:ext uri="{FF2B5EF4-FFF2-40B4-BE49-F238E27FC236}">
                <a16:creationId xmlns="" xmlns:a16="http://schemas.microsoft.com/office/drawing/2014/main" id="{C3CDBD8A-9384-44B4-A536-D8B8A84F078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 bwMode="gray">
          <a:xfrm>
            <a:off x="-12418" y="1071561"/>
            <a:ext cx="6108418" cy="5455237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endParaRPr lang="en-US" noProof="0"/>
          </a:p>
        </p:txBody>
      </p:sp>
      <p:graphicFrame>
        <p:nvGraphicFramePr>
          <p:cNvPr id="33" name="Object 32" hidden="1">
            <a:extLst>
              <a:ext uri="{FF2B5EF4-FFF2-40B4-BE49-F238E27FC236}">
                <a16:creationId xmlns="" xmlns:a16="http://schemas.microsoft.com/office/drawing/2014/main" id="{97CF15C5-E71F-4824-A3E7-B0D46257D4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35323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0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12950054-C1C0-4C68-B9C9-386E2EA79B5E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5" name="Title 34">
            <a:extLst>
              <a:ext uri="{FF2B5EF4-FFF2-40B4-BE49-F238E27FC236}">
                <a16:creationId xmlns="" xmlns:a16="http://schemas.microsoft.com/office/drawing/2014/main" id="{6A0A7CF6-4D64-446B-A2C8-D1AB7505D9E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92895" y="1071562"/>
            <a:ext cx="11609252" cy="5458837"/>
          </a:xfrm>
          <a:ln w="12700">
            <a:solidFill>
              <a:schemeClr val="tx2"/>
            </a:solidFill>
          </a:ln>
        </p:spPr>
        <p:txBody>
          <a:bodyPr lIns="6858000" rIns="540000"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="" xmlns:a16="http://schemas.microsoft.com/office/drawing/2014/main" id="{74BE29F5-BC95-4C64-B2A9-30CB346640FA}"/>
              </a:ext>
            </a:extLst>
          </p:cNvPr>
          <p:cNvSpPr/>
          <p:nvPr userDrawn="1"/>
        </p:nvSpPr>
        <p:spPr bwMode="gray">
          <a:xfrm>
            <a:off x="6096000" y="3030984"/>
            <a:ext cx="769964" cy="1539929"/>
          </a:xfrm>
          <a:prstGeom prst="rect">
            <a:avLst/>
          </a:prstGeom>
          <a:solidFill>
            <a:srgbClr val="2438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/>
          </a:p>
        </p:txBody>
      </p:sp>
      <p:sp>
        <p:nvSpPr>
          <p:cNvPr id="34" name="Rechteck 32" hidden="1">
            <a:extLst>
              <a:ext uri="{FF2B5EF4-FFF2-40B4-BE49-F238E27FC236}">
                <a16:creationId xmlns="" xmlns:a16="http://schemas.microsoft.com/office/drawing/2014/main" id="{A3C70602-ADB1-450D-B52E-F8A0EBA0C425}"/>
              </a:ext>
            </a:extLst>
          </p:cNvPr>
          <p:cNvSpPr/>
          <p:nvPr userDrawn="1"/>
        </p:nvSpPr>
        <p:spPr bwMode="gray">
          <a:xfrm>
            <a:off x="299378" y="1070369"/>
            <a:ext cx="11602768" cy="54599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0BCAFD96-7F4F-4709-BA8D-641E5DEC7D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314976" y="3030538"/>
            <a:ext cx="1550988" cy="1539875"/>
          </a:xfrm>
          <a:solidFill>
            <a:schemeClr val="tx2">
              <a:alpha val="80000"/>
            </a:schemeClr>
          </a:solidFill>
          <a:ln>
            <a:noFill/>
          </a:ln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  <a:lvl2pPr marL="0" indent="0" algn="ctr">
              <a:buNone/>
              <a:defRPr sz="6000" b="1">
                <a:solidFill>
                  <a:schemeClr val="bg1"/>
                </a:solidFill>
              </a:defRPr>
            </a:lvl2pPr>
            <a:lvl3pPr marL="0" indent="0" algn="ctr">
              <a:buNone/>
              <a:defRPr sz="6000" b="1">
                <a:solidFill>
                  <a:schemeClr val="bg1"/>
                </a:solidFill>
              </a:defRPr>
            </a:lvl3pPr>
            <a:lvl4pPr marL="0" indent="0" algn="ctr">
              <a:buNone/>
              <a:defRPr sz="6000" b="1">
                <a:solidFill>
                  <a:schemeClr val="bg1"/>
                </a:solidFill>
              </a:defRPr>
            </a:lvl4pPr>
            <a:lvl5pPr marL="0" indent="0" algn="ctr">
              <a:buNone/>
              <a:defRPr sz="6000" b="1">
                <a:solidFill>
                  <a:schemeClr val="bg1"/>
                </a:solidFill>
              </a:defRPr>
            </a:lvl5pPr>
            <a:lvl6pPr marL="0" indent="0" algn="ctr">
              <a:buNone/>
              <a:defRPr sz="6000" b="1">
                <a:solidFill>
                  <a:schemeClr val="bg1"/>
                </a:solidFill>
              </a:defRPr>
            </a:lvl6pPr>
            <a:lvl7pPr marL="0" indent="0" algn="ctr">
              <a:buNone/>
              <a:defRPr sz="6000" b="1">
                <a:solidFill>
                  <a:schemeClr val="bg1"/>
                </a:solidFill>
              </a:defRPr>
            </a:lvl7pPr>
            <a:lvl8pPr marL="0" indent="0" algn="ctr">
              <a:buNone/>
              <a:defRPr sz="6000" b="1">
                <a:solidFill>
                  <a:schemeClr val="bg1"/>
                </a:solidFill>
              </a:defRPr>
            </a:lvl8pPr>
            <a:lvl9pPr marL="0" indent="0" algn="ctr">
              <a:buNone/>
              <a:defRPr sz="60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D3C42B8D-9C5E-4AC3-B49D-6C44F3E096D1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noFill/>
              </a:defRPr>
            </a:lvl1pPr>
          </a:lstStyle>
          <a:p>
            <a:fld id="{8B26E17A-87B6-48D3-8E81-99C4B4F1B75B}" type="datetime1">
              <a:rPr lang="en-US" noProof="0" smtClean="0"/>
              <a:pPr/>
              <a:t>4/29/2020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2490C624-764C-43C0-8620-84202A5E8C0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B8B4CB71-05C4-46E6-9562-9E6C86321A4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grpSp>
        <p:nvGrpSpPr>
          <p:cNvPr id="36" name="Gruppieren 35">
            <a:extLst>
              <a:ext uri="{FF2B5EF4-FFF2-40B4-BE49-F238E27FC236}">
                <a16:creationId xmlns="" xmlns:a16="http://schemas.microsoft.com/office/drawing/2014/main" id="{B53541E3-A3BF-4500-BDBC-A6F821A0B713}"/>
              </a:ext>
            </a:extLst>
          </p:cNvPr>
          <p:cNvGrpSpPr/>
          <p:nvPr userDrawn="1"/>
        </p:nvGrpSpPr>
        <p:grpSpPr bwMode="gray">
          <a:xfrm>
            <a:off x="277530" y="326519"/>
            <a:ext cx="2196872" cy="482701"/>
            <a:chOff x="364785" y="474234"/>
            <a:chExt cx="1720030" cy="377928"/>
          </a:xfrm>
          <a:solidFill>
            <a:schemeClr val="tx2"/>
          </a:solidFill>
        </p:grpSpPr>
        <p:sp>
          <p:nvSpPr>
            <p:cNvPr id="37" name="Freihandform: Form 36">
              <a:extLst>
                <a:ext uri="{FF2B5EF4-FFF2-40B4-BE49-F238E27FC236}">
                  <a16:creationId xmlns="" xmlns:a16="http://schemas.microsoft.com/office/drawing/2014/main" id="{55CDE6B1-830A-4827-94B6-5D4D17D828CB}"/>
                </a:ext>
              </a:extLst>
            </p:cNvPr>
            <p:cNvSpPr/>
            <p:nvPr/>
          </p:nvSpPr>
          <p:spPr bwMode="gray">
            <a:xfrm>
              <a:off x="364785" y="474234"/>
              <a:ext cx="479323" cy="129049"/>
            </a:xfrm>
            <a:custGeom>
              <a:avLst/>
              <a:gdLst>
                <a:gd name="connsiteX0" fmla="*/ 241743 w 479322"/>
                <a:gd name="connsiteY0" fmla="*/ 47248 h 129048"/>
                <a:gd name="connsiteX1" fmla="*/ 6690 w 479322"/>
                <a:gd name="connsiteY1" fmla="*/ 6690 h 129048"/>
                <a:gd name="connsiteX2" fmla="*/ 55544 w 479322"/>
                <a:gd name="connsiteY2" fmla="*/ 85963 h 129048"/>
                <a:gd name="connsiteX3" fmla="*/ 241743 w 479322"/>
                <a:gd name="connsiteY3" fmla="*/ 126521 h 129048"/>
                <a:gd name="connsiteX4" fmla="*/ 427019 w 479322"/>
                <a:gd name="connsiteY4" fmla="*/ 85963 h 129048"/>
                <a:gd name="connsiteX5" fmla="*/ 475873 w 479322"/>
                <a:gd name="connsiteY5" fmla="*/ 669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322" h="129048">
                  <a:moveTo>
                    <a:pt x="241743" y="47248"/>
                  </a:moveTo>
                  <a:lnTo>
                    <a:pt x="6690" y="6690"/>
                  </a:lnTo>
                  <a:lnTo>
                    <a:pt x="55544" y="85963"/>
                  </a:lnTo>
                  <a:lnTo>
                    <a:pt x="241743" y="126521"/>
                  </a:lnTo>
                  <a:lnTo>
                    <a:pt x="427019" y="85963"/>
                  </a:lnTo>
                  <a:lnTo>
                    <a:pt x="475873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="" xmlns:a16="http://schemas.microsoft.com/office/drawing/2014/main" id="{C25E994E-22B6-41E7-9CDE-30F7B2EBF704}"/>
                </a:ext>
              </a:extLst>
            </p:cNvPr>
            <p:cNvSpPr/>
            <p:nvPr/>
          </p:nvSpPr>
          <p:spPr bwMode="gray">
            <a:xfrm>
              <a:off x="549140" y="759984"/>
              <a:ext cx="110613" cy="92178"/>
            </a:xfrm>
            <a:custGeom>
              <a:avLst/>
              <a:gdLst>
                <a:gd name="connsiteX0" fmla="*/ 57388 w 110612"/>
                <a:gd name="connsiteY0" fmla="*/ 87806 h 92177"/>
                <a:gd name="connsiteX1" fmla="*/ 107164 w 110612"/>
                <a:gd name="connsiteY1" fmla="*/ 6690 h 92177"/>
                <a:gd name="connsiteX2" fmla="*/ 57388 w 110612"/>
                <a:gd name="connsiteY2" fmla="*/ 20517 h 92177"/>
                <a:gd name="connsiteX3" fmla="*/ 6690 w 110612"/>
                <a:gd name="connsiteY3" fmla="*/ 6690 h 92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612" h="92177">
                  <a:moveTo>
                    <a:pt x="57388" y="87806"/>
                  </a:moveTo>
                  <a:lnTo>
                    <a:pt x="107164" y="6690"/>
                  </a:lnTo>
                  <a:lnTo>
                    <a:pt x="57388" y="20517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="" xmlns:a16="http://schemas.microsoft.com/office/drawing/2014/main" id="{2C3A81A5-E006-4673-AD62-114BE9FB14CD}"/>
                </a:ext>
              </a:extLst>
            </p:cNvPr>
            <p:cNvSpPr/>
            <p:nvPr/>
          </p:nvSpPr>
          <p:spPr bwMode="gray">
            <a:xfrm>
              <a:off x="456962" y="625405"/>
              <a:ext cx="294968" cy="101395"/>
            </a:xfrm>
            <a:custGeom>
              <a:avLst/>
              <a:gdLst>
                <a:gd name="connsiteX0" fmla="*/ 6690 w 294967"/>
                <a:gd name="connsiteY0" fmla="*/ 6690 h 101395"/>
                <a:gd name="connsiteX1" fmla="*/ 149565 w 294967"/>
                <a:gd name="connsiteY1" fmla="*/ 36187 h 101395"/>
                <a:gd name="connsiteX2" fmla="*/ 291519 w 294967"/>
                <a:gd name="connsiteY2" fmla="*/ 6690 h 101395"/>
                <a:gd name="connsiteX3" fmla="*/ 246352 w 294967"/>
                <a:gd name="connsiteY3" fmla="*/ 78589 h 101395"/>
                <a:gd name="connsiteX4" fmla="*/ 149565 w 294967"/>
                <a:gd name="connsiteY4" fmla="*/ 103477 h 101395"/>
                <a:gd name="connsiteX5" fmla="*/ 51857 w 294967"/>
                <a:gd name="connsiteY5" fmla="*/ 78589 h 10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967" h="101395">
                  <a:moveTo>
                    <a:pt x="6690" y="6690"/>
                  </a:moveTo>
                  <a:lnTo>
                    <a:pt x="149565" y="36187"/>
                  </a:lnTo>
                  <a:lnTo>
                    <a:pt x="291519" y="6690"/>
                  </a:lnTo>
                  <a:lnTo>
                    <a:pt x="246352" y="78589"/>
                  </a:lnTo>
                  <a:lnTo>
                    <a:pt x="149565" y="103477"/>
                  </a:lnTo>
                  <a:lnTo>
                    <a:pt x="51857" y="7858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="" xmlns:a16="http://schemas.microsoft.com/office/drawing/2014/main" id="{4475CF90-806D-4700-880A-1A077C9331AE}"/>
                </a:ext>
              </a:extLst>
            </p:cNvPr>
            <p:cNvSpPr/>
            <p:nvPr/>
          </p:nvSpPr>
          <p:spPr bwMode="gray">
            <a:xfrm>
              <a:off x="1992638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="" xmlns:a16="http://schemas.microsoft.com/office/drawing/2014/main" id="{7313401C-BD20-43A0-AEB7-D27499EE7B14}"/>
                </a:ext>
              </a:extLst>
            </p:cNvPr>
            <p:cNvSpPr/>
            <p:nvPr/>
          </p:nvSpPr>
          <p:spPr bwMode="gray">
            <a:xfrm>
              <a:off x="921536" y="714817"/>
              <a:ext cx="119831" cy="129049"/>
            </a:xfrm>
            <a:custGeom>
              <a:avLst/>
              <a:gdLst>
                <a:gd name="connsiteX0" fmla="*/ 90572 w 119830"/>
                <a:gd name="connsiteY0" fmla="*/ 119147 h 129048"/>
                <a:gd name="connsiteX1" fmla="*/ 90572 w 119830"/>
                <a:gd name="connsiteY1" fmla="*/ 61997 h 129048"/>
                <a:gd name="connsiteX2" fmla="*/ 61997 w 119830"/>
                <a:gd name="connsiteY2" fmla="*/ 122834 h 129048"/>
                <a:gd name="connsiteX3" fmla="*/ 33422 w 119830"/>
                <a:gd name="connsiteY3" fmla="*/ 61997 h 129048"/>
                <a:gd name="connsiteX4" fmla="*/ 33422 w 119830"/>
                <a:gd name="connsiteY4" fmla="*/ 119147 h 129048"/>
                <a:gd name="connsiteX5" fmla="*/ 6690 w 119830"/>
                <a:gd name="connsiteY5" fmla="*/ 119147 h 129048"/>
                <a:gd name="connsiteX6" fmla="*/ 6690 w 119830"/>
                <a:gd name="connsiteY6" fmla="*/ 6690 h 129048"/>
                <a:gd name="connsiteX7" fmla="*/ 33422 w 119830"/>
                <a:gd name="connsiteY7" fmla="*/ 6690 h 129048"/>
                <a:gd name="connsiteX8" fmla="*/ 61997 w 119830"/>
                <a:gd name="connsiteY8" fmla="*/ 69371 h 129048"/>
                <a:gd name="connsiteX9" fmla="*/ 90572 w 119830"/>
                <a:gd name="connsiteY9" fmla="*/ 6690 h 129048"/>
                <a:gd name="connsiteX10" fmla="*/ 117303 w 119830"/>
                <a:gd name="connsiteY10" fmla="*/ 6690 h 129048"/>
                <a:gd name="connsiteX11" fmla="*/ 117303 w 119830"/>
                <a:gd name="connsiteY11" fmla="*/ 119147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830" h="129048">
                  <a:moveTo>
                    <a:pt x="90572" y="119147"/>
                  </a:moveTo>
                  <a:lnTo>
                    <a:pt x="90572" y="61997"/>
                  </a:lnTo>
                  <a:lnTo>
                    <a:pt x="61997" y="122834"/>
                  </a:lnTo>
                  <a:lnTo>
                    <a:pt x="33422" y="61997"/>
                  </a:lnTo>
                  <a:lnTo>
                    <a:pt x="33422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33422" y="6690"/>
                  </a:lnTo>
                  <a:lnTo>
                    <a:pt x="61997" y="69371"/>
                  </a:lnTo>
                  <a:lnTo>
                    <a:pt x="90572" y="6690"/>
                  </a:lnTo>
                  <a:lnTo>
                    <a:pt x="117303" y="6690"/>
                  </a:lnTo>
                  <a:lnTo>
                    <a:pt x="117303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="" xmlns:a16="http://schemas.microsoft.com/office/drawing/2014/main" id="{23052EF4-9314-4373-85BE-0031707ABE15}"/>
                </a:ext>
              </a:extLst>
            </p:cNvPr>
            <p:cNvSpPr/>
            <p:nvPr/>
          </p:nvSpPr>
          <p:spPr bwMode="gray">
            <a:xfrm>
              <a:off x="1154745" y="714817"/>
              <a:ext cx="101395" cy="119831"/>
            </a:xfrm>
            <a:custGeom>
              <a:avLst/>
              <a:gdLst>
                <a:gd name="connsiteX0" fmla="*/ 44483 w 101395"/>
                <a:gd name="connsiteY0" fmla="*/ 31578 h 119830"/>
                <a:gd name="connsiteX1" fmla="*/ 35265 w 101395"/>
                <a:gd name="connsiteY1" fmla="*/ 31578 h 119830"/>
                <a:gd name="connsiteX2" fmla="*/ 35265 w 101395"/>
                <a:gd name="connsiteY2" fmla="*/ 94259 h 119830"/>
                <a:gd name="connsiteX3" fmla="*/ 43561 w 101395"/>
                <a:gd name="connsiteY3" fmla="*/ 94259 h 119830"/>
                <a:gd name="connsiteX4" fmla="*/ 73058 w 101395"/>
                <a:gd name="connsiteY4" fmla="*/ 62919 h 119830"/>
                <a:gd name="connsiteX5" fmla="*/ 44483 w 101395"/>
                <a:gd name="connsiteY5" fmla="*/ 31578 h 119830"/>
                <a:gd name="connsiteX6" fmla="*/ 42640 w 101395"/>
                <a:gd name="connsiteY6" fmla="*/ 119147 h 119830"/>
                <a:gd name="connsiteX7" fmla="*/ 6690 w 101395"/>
                <a:gd name="connsiteY7" fmla="*/ 119147 h 119830"/>
                <a:gd name="connsiteX8" fmla="*/ 6690 w 101395"/>
                <a:gd name="connsiteY8" fmla="*/ 6690 h 119830"/>
                <a:gd name="connsiteX9" fmla="*/ 44483 w 101395"/>
                <a:gd name="connsiteY9" fmla="*/ 6690 h 119830"/>
                <a:gd name="connsiteX10" fmla="*/ 101633 w 101395"/>
                <a:gd name="connsiteY10" fmla="*/ 62919 h 119830"/>
                <a:gd name="connsiteX11" fmla="*/ 42640 w 101395"/>
                <a:gd name="connsiteY11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395" h="119830">
                  <a:moveTo>
                    <a:pt x="44483" y="31578"/>
                  </a:moveTo>
                  <a:lnTo>
                    <a:pt x="35265" y="31578"/>
                  </a:lnTo>
                  <a:lnTo>
                    <a:pt x="35265" y="94259"/>
                  </a:lnTo>
                  <a:lnTo>
                    <a:pt x="43561" y="94259"/>
                  </a:lnTo>
                  <a:cubicBezTo>
                    <a:pt x="64762" y="94259"/>
                    <a:pt x="73058" y="85041"/>
                    <a:pt x="73058" y="62919"/>
                  </a:cubicBezTo>
                  <a:cubicBezTo>
                    <a:pt x="73058" y="40796"/>
                    <a:pt x="65684" y="31578"/>
                    <a:pt x="44483" y="31578"/>
                  </a:cubicBezTo>
                  <a:moveTo>
                    <a:pt x="42640" y="119147"/>
                  </a:moveTo>
                  <a:lnTo>
                    <a:pt x="6690" y="119147"/>
                  </a:lnTo>
                  <a:lnTo>
                    <a:pt x="6690" y="6690"/>
                  </a:lnTo>
                  <a:lnTo>
                    <a:pt x="44483" y="6690"/>
                  </a:lnTo>
                  <a:cubicBezTo>
                    <a:pt x="78589" y="6690"/>
                    <a:pt x="101633" y="20517"/>
                    <a:pt x="101633" y="62919"/>
                  </a:cubicBezTo>
                  <a:cubicBezTo>
                    <a:pt x="102555" y="103477"/>
                    <a:pt x="78589" y="119147"/>
                    <a:pt x="42640" y="119147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="" xmlns:a16="http://schemas.microsoft.com/office/drawing/2014/main" id="{EBCCF388-B4C0-4B7E-9B87-C72860759951}"/>
                </a:ext>
              </a:extLst>
            </p:cNvPr>
            <p:cNvSpPr/>
            <p:nvPr/>
          </p:nvSpPr>
          <p:spPr bwMode="gray">
            <a:xfrm>
              <a:off x="1266280" y="714817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19147 h 119830"/>
                <a:gd name="connsiteX3" fmla="*/ 6690 w 36870"/>
                <a:gd name="connsiteY3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19147"/>
                  </a:lnTo>
                  <a:lnTo>
                    <a:pt x="6690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="" xmlns:a16="http://schemas.microsoft.com/office/drawing/2014/main" id="{7FEFEC4A-7E55-4518-B116-12AE4D7EBD97}"/>
                </a:ext>
              </a:extLst>
            </p:cNvPr>
            <p:cNvSpPr/>
            <p:nvPr/>
          </p:nvSpPr>
          <p:spPr bwMode="gray">
            <a:xfrm>
              <a:off x="1311447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6606" y="32500"/>
                    <a:pt x="71214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="" xmlns:a16="http://schemas.microsoft.com/office/drawing/2014/main" id="{9BED1948-7C6E-4055-B67B-0653BCC1937F}"/>
                </a:ext>
              </a:extLst>
            </p:cNvPr>
            <p:cNvSpPr/>
            <p:nvPr/>
          </p:nvSpPr>
          <p:spPr bwMode="gray">
            <a:xfrm>
              <a:off x="1407311" y="714817"/>
              <a:ext cx="119831" cy="119831"/>
            </a:xfrm>
            <a:custGeom>
              <a:avLst/>
              <a:gdLst>
                <a:gd name="connsiteX0" fmla="*/ 50935 w 119830"/>
                <a:gd name="connsiteY0" fmla="*/ 73980 h 119830"/>
                <a:gd name="connsiteX1" fmla="*/ 73058 w 119830"/>
                <a:gd name="connsiteY1" fmla="*/ 73980 h 119830"/>
                <a:gd name="connsiteX2" fmla="*/ 61997 w 119830"/>
                <a:gd name="connsiteY2" fmla="*/ 38031 h 119830"/>
                <a:gd name="connsiteX3" fmla="*/ 50935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935" y="73980"/>
                  </a:moveTo>
                  <a:lnTo>
                    <a:pt x="73058" y="73980"/>
                  </a:lnTo>
                  <a:lnTo>
                    <a:pt x="61997" y="38031"/>
                  </a:lnTo>
                  <a:lnTo>
                    <a:pt x="50935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="" xmlns:a16="http://schemas.microsoft.com/office/drawing/2014/main" id="{E88711E3-DD19-4216-A0FB-EC0611CA6047}"/>
                </a:ext>
              </a:extLst>
            </p:cNvPr>
            <p:cNvSpPr/>
            <p:nvPr/>
          </p:nvSpPr>
          <p:spPr bwMode="gray">
            <a:xfrm>
              <a:off x="1529907" y="714817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86885 w 92177"/>
                <a:gd name="connsiteY1" fmla="*/ 119147 h 119830"/>
                <a:gd name="connsiteX2" fmla="*/ 86885 w 92177"/>
                <a:gd name="connsiteY2" fmla="*/ 93337 h 119830"/>
                <a:gd name="connsiteX3" fmla="*/ 35265 w 92177"/>
                <a:gd name="connsiteY3" fmla="*/ 93337 h 119830"/>
                <a:gd name="connsiteX4" fmla="*/ 35265 w 92177"/>
                <a:gd name="connsiteY4" fmla="*/ 6690 h 119830"/>
                <a:gd name="connsiteX5" fmla="*/ 6690 w 92177"/>
                <a:gd name="connsiteY5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86885" y="119147"/>
                  </a:lnTo>
                  <a:lnTo>
                    <a:pt x="86885" y="93337"/>
                  </a:lnTo>
                  <a:lnTo>
                    <a:pt x="35265" y="93337"/>
                  </a:lnTo>
                  <a:lnTo>
                    <a:pt x="35265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="" xmlns:a16="http://schemas.microsoft.com/office/drawing/2014/main" id="{7A89BF2C-725E-4DA6-81D5-C5A743D54F52}"/>
                </a:ext>
              </a:extLst>
            </p:cNvPr>
            <p:cNvSpPr/>
            <p:nvPr/>
          </p:nvSpPr>
          <p:spPr bwMode="gray">
            <a:xfrm>
              <a:off x="1663564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7527" y="32500"/>
                    <a:pt x="72136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="" xmlns:a16="http://schemas.microsoft.com/office/drawing/2014/main" id="{9357F1B5-37EF-4F10-9345-95138E472DE9}"/>
                </a:ext>
              </a:extLst>
            </p:cNvPr>
            <p:cNvSpPr/>
            <p:nvPr/>
          </p:nvSpPr>
          <p:spPr bwMode="gray">
            <a:xfrm>
              <a:off x="1760351" y="714817"/>
              <a:ext cx="119831" cy="119831"/>
            </a:xfrm>
            <a:custGeom>
              <a:avLst/>
              <a:gdLst>
                <a:gd name="connsiteX0" fmla="*/ 50014 w 119830"/>
                <a:gd name="connsiteY0" fmla="*/ 73980 h 119830"/>
                <a:gd name="connsiteX1" fmla="*/ 72136 w 119830"/>
                <a:gd name="connsiteY1" fmla="*/ 73980 h 119830"/>
                <a:gd name="connsiteX2" fmla="*/ 61075 w 119830"/>
                <a:gd name="connsiteY2" fmla="*/ 38031 h 119830"/>
                <a:gd name="connsiteX3" fmla="*/ 50014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014" y="73980"/>
                  </a:moveTo>
                  <a:lnTo>
                    <a:pt x="72136" y="73980"/>
                  </a:lnTo>
                  <a:lnTo>
                    <a:pt x="61075" y="38031"/>
                  </a:lnTo>
                  <a:lnTo>
                    <a:pt x="50014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="" xmlns:a16="http://schemas.microsoft.com/office/drawing/2014/main" id="{E8F91912-61F1-47DA-A070-745AE018A6F9}"/>
                </a:ext>
              </a:extLst>
            </p:cNvPr>
            <p:cNvSpPr/>
            <p:nvPr/>
          </p:nvSpPr>
          <p:spPr bwMode="gray">
            <a:xfrm>
              <a:off x="1882947" y="714817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1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1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="" xmlns:a16="http://schemas.microsoft.com/office/drawing/2014/main" id="{E2EFFB48-A2B6-4DEA-8286-6BB591828991}"/>
                </a:ext>
              </a:extLst>
            </p:cNvPr>
            <p:cNvSpPr/>
            <p:nvPr/>
          </p:nvSpPr>
          <p:spPr bwMode="gray">
            <a:xfrm>
              <a:off x="1054272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="" xmlns:a16="http://schemas.microsoft.com/office/drawing/2014/main" id="{886706F0-2320-4AAF-924C-04950F3C7469}"/>
                </a:ext>
              </a:extLst>
            </p:cNvPr>
            <p:cNvSpPr/>
            <p:nvPr/>
          </p:nvSpPr>
          <p:spPr bwMode="gray">
            <a:xfrm>
              <a:off x="1695827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90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1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90" y="111773"/>
                    <a:pt x="99790" y="87807"/>
                  </a:cubicBezTo>
                  <a:cubicBezTo>
                    <a:pt x="99790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1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="" xmlns:a16="http://schemas.microsoft.com/office/drawing/2014/main" id="{7318BC3A-486F-4F73-96DC-C623EB7A3BB8}"/>
                </a:ext>
              </a:extLst>
            </p:cNvPr>
            <p:cNvSpPr/>
            <p:nvPr/>
          </p:nvSpPr>
          <p:spPr bwMode="gray">
            <a:xfrm>
              <a:off x="921536" y="545210"/>
              <a:ext cx="92177" cy="119831"/>
            </a:xfrm>
            <a:custGeom>
              <a:avLst/>
              <a:gdLst>
                <a:gd name="connsiteX0" fmla="*/ 35265 w 92177"/>
                <a:gd name="connsiteY0" fmla="*/ 31578 h 119830"/>
                <a:gd name="connsiteX1" fmla="*/ 35265 w 92177"/>
                <a:gd name="connsiteY1" fmla="*/ 49092 h 119830"/>
                <a:gd name="connsiteX2" fmla="*/ 74902 w 92177"/>
                <a:gd name="connsiteY2" fmla="*/ 49092 h 119830"/>
                <a:gd name="connsiteX3" fmla="*/ 74902 w 92177"/>
                <a:gd name="connsiteY3" fmla="*/ 73980 h 119830"/>
                <a:gd name="connsiteX4" fmla="*/ 35265 w 92177"/>
                <a:gd name="connsiteY4" fmla="*/ 73980 h 119830"/>
                <a:gd name="connsiteX5" fmla="*/ 35265 w 92177"/>
                <a:gd name="connsiteY5" fmla="*/ 119147 h 119830"/>
                <a:gd name="connsiteX6" fmla="*/ 6690 w 92177"/>
                <a:gd name="connsiteY6" fmla="*/ 119147 h 119830"/>
                <a:gd name="connsiteX7" fmla="*/ 6690 w 92177"/>
                <a:gd name="connsiteY7" fmla="*/ 6690 h 119830"/>
                <a:gd name="connsiteX8" fmla="*/ 90572 w 92177"/>
                <a:gd name="connsiteY8" fmla="*/ 6690 h 119830"/>
                <a:gd name="connsiteX9" fmla="*/ 90572 w 92177"/>
                <a:gd name="connsiteY9" fmla="*/ 31578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177" h="119830">
                  <a:moveTo>
                    <a:pt x="35265" y="31578"/>
                  </a:moveTo>
                  <a:lnTo>
                    <a:pt x="35265" y="49092"/>
                  </a:lnTo>
                  <a:lnTo>
                    <a:pt x="74902" y="49092"/>
                  </a:lnTo>
                  <a:lnTo>
                    <a:pt x="74902" y="73980"/>
                  </a:lnTo>
                  <a:lnTo>
                    <a:pt x="35265" y="73980"/>
                  </a:lnTo>
                  <a:lnTo>
                    <a:pt x="35265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90572" y="6690"/>
                  </a:lnTo>
                  <a:lnTo>
                    <a:pt x="90572" y="31578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="" xmlns:a16="http://schemas.microsoft.com/office/drawing/2014/main" id="{C7CC4962-C456-49C0-99B1-A864C3811F09}"/>
                </a:ext>
              </a:extLst>
            </p:cNvPr>
            <p:cNvSpPr/>
            <p:nvPr/>
          </p:nvSpPr>
          <p:spPr bwMode="gray">
            <a:xfrm>
              <a:off x="1017401" y="545210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0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0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="" xmlns:a16="http://schemas.microsoft.com/office/drawing/2014/main" id="{3438CAA0-9060-477E-8FE1-E417FAB1D1DC}"/>
                </a:ext>
              </a:extLst>
            </p:cNvPr>
            <p:cNvSpPr/>
            <p:nvPr/>
          </p:nvSpPr>
          <p:spPr bwMode="gray">
            <a:xfrm>
              <a:off x="1127092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1494 w 92177"/>
                <a:gd name="connsiteY1" fmla="*/ 119147 h 119830"/>
                <a:gd name="connsiteX2" fmla="*/ 91494 w 92177"/>
                <a:gd name="connsiteY2" fmla="*/ 94259 h 119830"/>
                <a:gd name="connsiteX3" fmla="*/ 34344 w 92177"/>
                <a:gd name="connsiteY3" fmla="*/ 94259 h 119830"/>
                <a:gd name="connsiteX4" fmla="*/ 34344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4344 w 92177"/>
                <a:gd name="connsiteY7" fmla="*/ 48170 h 119830"/>
                <a:gd name="connsiteX8" fmla="*/ 34344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1494" y="119147"/>
                  </a:lnTo>
                  <a:lnTo>
                    <a:pt x="91494" y="94259"/>
                  </a:lnTo>
                  <a:lnTo>
                    <a:pt x="34344" y="94259"/>
                  </a:lnTo>
                  <a:lnTo>
                    <a:pt x="34344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4344" y="48170"/>
                  </a:lnTo>
                  <a:lnTo>
                    <a:pt x="34344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="" xmlns:a16="http://schemas.microsoft.com/office/drawing/2014/main" id="{0107A2D8-F4AE-44C7-887A-FC7070040226}"/>
                </a:ext>
              </a:extLst>
            </p:cNvPr>
            <p:cNvSpPr/>
            <p:nvPr/>
          </p:nvSpPr>
          <p:spPr bwMode="gray">
            <a:xfrm>
              <a:off x="1217426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89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0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89" y="111773"/>
                    <a:pt x="99789" y="87807"/>
                  </a:cubicBezTo>
                  <a:cubicBezTo>
                    <a:pt x="99789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0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="" xmlns:a16="http://schemas.microsoft.com/office/drawing/2014/main" id="{9BDAF7A5-365F-46DC-A1E6-D2A23DADE39C}"/>
                </a:ext>
              </a:extLst>
            </p:cNvPr>
            <p:cNvSpPr/>
            <p:nvPr/>
          </p:nvSpPr>
          <p:spPr bwMode="gray">
            <a:xfrm>
              <a:off x="1325273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2415 w 92177"/>
                <a:gd name="connsiteY1" fmla="*/ 119147 h 119830"/>
                <a:gd name="connsiteX2" fmla="*/ 92415 w 92177"/>
                <a:gd name="connsiteY2" fmla="*/ 94259 h 119830"/>
                <a:gd name="connsiteX3" fmla="*/ 35265 w 92177"/>
                <a:gd name="connsiteY3" fmla="*/ 94259 h 119830"/>
                <a:gd name="connsiteX4" fmla="*/ 35265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8728 w 92177"/>
                <a:gd name="connsiteY9" fmla="*/ 31578 h 119830"/>
                <a:gd name="connsiteX10" fmla="*/ 88728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2415" y="119147"/>
                  </a:lnTo>
                  <a:lnTo>
                    <a:pt x="92415" y="94259"/>
                  </a:lnTo>
                  <a:lnTo>
                    <a:pt x="35265" y="94259"/>
                  </a:lnTo>
                  <a:lnTo>
                    <a:pt x="35265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8728" y="31578"/>
                  </a:lnTo>
                  <a:lnTo>
                    <a:pt x="88728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="" xmlns:a16="http://schemas.microsoft.com/office/drawing/2014/main" id="{AB81E90A-1787-4398-9A22-F089967D9E87}"/>
                </a:ext>
              </a:extLst>
            </p:cNvPr>
            <p:cNvSpPr/>
            <p:nvPr/>
          </p:nvSpPr>
          <p:spPr bwMode="gray">
            <a:xfrm>
              <a:off x="1424825" y="545210"/>
              <a:ext cx="101395" cy="119831"/>
            </a:xfrm>
            <a:custGeom>
              <a:avLst/>
              <a:gdLst>
                <a:gd name="connsiteX0" fmla="*/ 79510 w 101395"/>
                <a:gd name="connsiteY0" fmla="*/ 119147 h 119830"/>
                <a:gd name="connsiteX1" fmla="*/ 103477 w 101395"/>
                <a:gd name="connsiteY1" fmla="*/ 119147 h 119830"/>
                <a:gd name="connsiteX2" fmla="*/ 103477 w 101395"/>
                <a:gd name="connsiteY2" fmla="*/ 6690 h 119830"/>
                <a:gd name="connsiteX3" fmla="*/ 75823 w 101395"/>
                <a:gd name="connsiteY3" fmla="*/ 6690 h 119830"/>
                <a:gd name="connsiteX4" fmla="*/ 75823 w 101395"/>
                <a:gd name="connsiteY4" fmla="*/ 67527 h 119830"/>
                <a:gd name="connsiteX5" fmla="*/ 31578 w 101395"/>
                <a:gd name="connsiteY5" fmla="*/ 6690 h 119830"/>
                <a:gd name="connsiteX6" fmla="*/ 6690 w 101395"/>
                <a:gd name="connsiteY6" fmla="*/ 6690 h 119830"/>
                <a:gd name="connsiteX7" fmla="*/ 6690 w 101395"/>
                <a:gd name="connsiteY7" fmla="*/ 119147 h 119830"/>
                <a:gd name="connsiteX8" fmla="*/ 33422 w 101395"/>
                <a:gd name="connsiteY8" fmla="*/ 119147 h 119830"/>
                <a:gd name="connsiteX9" fmla="*/ 33422 w 101395"/>
                <a:gd name="connsiteY9" fmla="*/ 54623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395" h="119830">
                  <a:moveTo>
                    <a:pt x="79510" y="119147"/>
                  </a:moveTo>
                  <a:lnTo>
                    <a:pt x="103477" y="119147"/>
                  </a:lnTo>
                  <a:lnTo>
                    <a:pt x="103477" y="6690"/>
                  </a:lnTo>
                  <a:lnTo>
                    <a:pt x="75823" y="6690"/>
                  </a:lnTo>
                  <a:lnTo>
                    <a:pt x="75823" y="67527"/>
                  </a:lnTo>
                  <a:lnTo>
                    <a:pt x="31578" y="6690"/>
                  </a:lnTo>
                  <a:lnTo>
                    <a:pt x="6690" y="6690"/>
                  </a:lnTo>
                  <a:lnTo>
                    <a:pt x="6690" y="119147"/>
                  </a:lnTo>
                  <a:lnTo>
                    <a:pt x="33422" y="119147"/>
                  </a:lnTo>
                  <a:lnTo>
                    <a:pt x="33422" y="54623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="" xmlns:a16="http://schemas.microsoft.com/office/drawing/2014/main" id="{2CA24ED0-3B74-413E-962F-C96AED80EAA2}"/>
                </a:ext>
              </a:extLst>
            </p:cNvPr>
            <p:cNvSpPr/>
            <p:nvPr/>
          </p:nvSpPr>
          <p:spPr bwMode="gray">
            <a:xfrm>
              <a:off x="1541890" y="545210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20069 h 119830"/>
                <a:gd name="connsiteX3" fmla="*/ 6690 w 36870"/>
                <a:gd name="connsiteY3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20069"/>
                  </a:lnTo>
                  <a:lnTo>
                    <a:pt x="6690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="" xmlns:a16="http://schemas.microsoft.com/office/drawing/2014/main" id="{445EA8B1-6AAE-4BB6-A597-2A4FDFD49CBE}"/>
                </a:ext>
              </a:extLst>
            </p:cNvPr>
            <p:cNvSpPr/>
            <p:nvPr/>
          </p:nvSpPr>
          <p:spPr bwMode="gray">
            <a:xfrm>
              <a:off x="1590713" y="544289"/>
              <a:ext cx="101395" cy="119831"/>
            </a:xfrm>
            <a:custGeom>
              <a:avLst/>
              <a:gdLst>
                <a:gd name="connsiteX0" fmla="*/ 53732 w 101395"/>
                <a:gd name="connsiteY0" fmla="*/ 121912 h 119830"/>
                <a:gd name="connsiteX1" fmla="*/ 102586 w 101395"/>
                <a:gd name="connsiteY1" fmla="*/ 71215 h 119830"/>
                <a:gd name="connsiteX2" fmla="*/ 102586 w 101395"/>
                <a:gd name="connsiteY2" fmla="*/ 6690 h 119830"/>
                <a:gd name="connsiteX3" fmla="*/ 74011 w 101395"/>
                <a:gd name="connsiteY3" fmla="*/ 6690 h 119830"/>
                <a:gd name="connsiteX4" fmla="*/ 74011 w 101395"/>
                <a:gd name="connsiteY4" fmla="*/ 71215 h 119830"/>
                <a:gd name="connsiteX5" fmla="*/ 54654 w 101395"/>
                <a:gd name="connsiteY5" fmla="*/ 96102 h 119830"/>
                <a:gd name="connsiteX6" fmla="*/ 35297 w 101395"/>
                <a:gd name="connsiteY6" fmla="*/ 71215 h 119830"/>
                <a:gd name="connsiteX7" fmla="*/ 35297 w 101395"/>
                <a:gd name="connsiteY7" fmla="*/ 6690 h 119830"/>
                <a:gd name="connsiteX8" fmla="*/ 6722 w 101395"/>
                <a:gd name="connsiteY8" fmla="*/ 6690 h 119830"/>
                <a:gd name="connsiteX9" fmla="*/ 6722 w 101395"/>
                <a:gd name="connsiteY9" fmla="*/ 71215 h 119830"/>
                <a:gd name="connsiteX10" fmla="*/ 53732 w 101395"/>
                <a:gd name="connsiteY10" fmla="*/ 121912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19830">
                  <a:moveTo>
                    <a:pt x="53732" y="121912"/>
                  </a:moveTo>
                  <a:cubicBezTo>
                    <a:pt x="82307" y="121912"/>
                    <a:pt x="102586" y="106242"/>
                    <a:pt x="102586" y="71215"/>
                  </a:cubicBezTo>
                  <a:lnTo>
                    <a:pt x="102586" y="6690"/>
                  </a:lnTo>
                  <a:lnTo>
                    <a:pt x="74011" y="6690"/>
                  </a:lnTo>
                  <a:lnTo>
                    <a:pt x="74011" y="71215"/>
                  </a:lnTo>
                  <a:cubicBezTo>
                    <a:pt x="74011" y="86885"/>
                    <a:pt x="67559" y="96102"/>
                    <a:pt x="54654" y="96102"/>
                  </a:cubicBezTo>
                  <a:cubicBezTo>
                    <a:pt x="41749" y="96102"/>
                    <a:pt x="35297" y="86885"/>
                    <a:pt x="35297" y="71215"/>
                  </a:cubicBezTo>
                  <a:lnTo>
                    <a:pt x="35297" y="6690"/>
                  </a:lnTo>
                  <a:lnTo>
                    <a:pt x="6722" y="6690"/>
                  </a:lnTo>
                  <a:lnTo>
                    <a:pt x="6722" y="71215"/>
                  </a:lnTo>
                  <a:cubicBezTo>
                    <a:pt x="5800" y="106242"/>
                    <a:pt x="25157" y="121912"/>
                    <a:pt x="53732" y="121912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/>
              <a:endParaRPr lang="en-US" noProof="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12733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3A8007CF-EEE0-41C5-BE50-6D3D1409D2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67277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2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B05B3576-554F-4179-BB20-8D8CFB73E57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="" xmlns:a16="http://schemas.microsoft.com/office/drawing/2014/main" id="{B69D320D-B05B-4994-8050-65DA2352C8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7375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4CCE5476-60EA-4A2C-AE03-469AAF4B215D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BF47283-F1A7-4916-B096-5163DBA927DA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DF4E9BA6-9407-471E-8BE0-3C644DED8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D560EEBD-8A3A-4045-A507-02F35C8CE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algn="r">
              <a:defRPr/>
            </a:lvl6pPr>
            <a:lvl7pPr algn="r">
              <a:defRPr/>
            </a:lvl7pPr>
            <a:lvl8pPr algn="r">
              <a:defRPr/>
            </a:lvl8pPr>
            <a:lvl9pPr algn="r">
              <a:defRPr/>
            </a:lvl9pPr>
          </a:lstStyle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7381E464-80E6-4F2F-A2B9-1422ED13F1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5" y="346076"/>
            <a:ext cx="11017249" cy="72008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="" xmlns:a16="http://schemas.microsoft.com/office/drawing/2014/main" id="{ADE5B64C-E1D3-4D5D-B7D1-7D9F8B883605}"/>
              </a:ext>
            </a:extLst>
          </p:cNvPr>
          <p:cNvSpPr>
            <a:spLocks noGrp="1"/>
          </p:cNvSpPr>
          <p:nvPr>
            <p:ph type="subTitle" idx="13"/>
          </p:nvPr>
        </p:nvSpPr>
        <p:spPr bwMode="gray">
          <a:xfrm>
            <a:off x="587374" y="1268413"/>
            <a:ext cx="11016000" cy="435600"/>
          </a:xfrm>
        </p:spPr>
        <p:txBody>
          <a:bodyPr/>
          <a:lstStyle>
            <a:lvl1pPr marL="0" indent="0" algn="l">
              <a:spcAft>
                <a:spcPts val="600"/>
              </a:spcAft>
              <a:buNone/>
              <a:defRPr sz="1800" cap="all" baseline="0">
                <a:solidFill>
                  <a:schemeClr val="tx2"/>
                </a:solidFill>
              </a:defRPr>
            </a:lvl1pPr>
            <a:lvl2pPr marL="0" indent="0" algn="l">
              <a:buNone/>
              <a:defRPr sz="1800" cap="all" baseline="0">
                <a:solidFill>
                  <a:schemeClr val="tx2"/>
                </a:solidFill>
              </a:defRPr>
            </a:lvl2pPr>
            <a:lvl3pPr marL="0" indent="0" algn="l">
              <a:buNone/>
              <a:defRPr sz="1800" cap="all" baseline="0">
                <a:solidFill>
                  <a:schemeClr val="tx2"/>
                </a:solidFill>
              </a:defRPr>
            </a:lvl3pPr>
            <a:lvl4pPr marL="0" indent="0" algn="l">
              <a:buNone/>
              <a:defRPr sz="1800" cap="all" baseline="0">
                <a:solidFill>
                  <a:schemeClr val="tx2"/>
                </a:solidFill>
              </a:defRPr>
            </a:lvl4pPr>
            <a:lvl5pPr marL="0" indent="0" algn="l">
              <a:buNone/>
              <a:defRPr sz="1800" cap="all" baseline="0">
                <a:solidFill>
                  <a:schemeClr val="tx2"/>
                </a:solidFill>
              </a:defRPr>
            </a:lvl5pPr>
            <a:lvl6pPr marL="0" indent="0" algn="l">
              <a:buNone/>
              <a:defRPr sz="1800" cap="all" baseline="0">
                <a:solidFill>
                  <a:schemeClr val="tx2"/>
                </a:solidFill>
              </a:defRPr>
            </a:lvl6pPr>
            <a:lvl7pPr marL="0" indent="0" algn="l">
              <a:buNone/>
              <a:defRPr sz="1800" cap="all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cap="all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="" xmlns:a16="http://schemas.microsoft.com/office/drawing/2014/main" id="{A0A8AB13-273B-4950-9E7D-330FBDC08C13}"/>
              </a:ext>
            </a:extLst>
          </p:cNvPr>
          <p:cNvSpPr>
            <a:spLocks noGrp="1"/>
          </p:cNvSpPr>
          <p:nvPr>
            <p:ph sz="quarter" idx="14"/>
          </p:nvPr>
        </p:nvSpPr>
        <p:spPr bwMode="gray">
          <a:xfrm>
            <a:off x="587375" y="1773243"/>
            <a:ext cx="11017249" cy="424813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2195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3A8007CF-EEE0-41C5-BE50-6D3D1409D2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2040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4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="" xmlns:a16="http://schemas.microsoft.com/office/drawing/2014/main" id="{3A8007CF-EEE0-41C5-BE50-6D3D1409D2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B05B3576-554F-4179-BB20-8D8CFB73E57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="" xmlns:a16="http://schemas.microsoft.com/office/drawing/2014/main" id="{B69D320D-B05B-4994-8050-65DA2352C8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7375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4CCE5476-60EA-4A2C-AE03-469AAF4B215D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BF47283-F1A7-4916-B096-5163DBA927DA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DF4E9BA6-9407-471E-8BE0-3C644DED8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D560EEBD-8A3A-4045-A507-02F35C8CE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algn="r">
              <a:defRPr/>
            </a:lvl6pPr>
            <a:lvl7pPr algn="r">
              <a:defRPr/>
            </a:lvl7pPr>
            <a:lvl8pPr algn="r">
              <a:defRPr/>
            </a:lvl8pPr>
            <a:lvl9pPr algn="r">
              <a:defRPr/>
            </a:lvl9pPr>
          </a:lstStyle>
          <a:p>
            <a:r>
              <a:rPr lang="en-US" noProof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Title 7">
            <a:extLst>
              <a:ext uri="{FF2B5EF4-FFF2-40B4-BE49-F238E27FC236}">
                <a16:creationId xmlns="" xmlns:a16="http://schemas.microsoft.com/office/drawing/2014/main" id="{7381E464-80E6-4F2F-A2B9-1422ED13F1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5" y="346076"/>
            <a:ext cx="11017249" cy="72008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="" xmlns:a16="http://schemas.microsoft.com/office/drawing/2014/main" id="{ADE5B64C-E1D3-4D5D-B7D1-7D9F8B883605}"/>
              </a:ext>
            </a:extLst>
          </p:cNvPr>
          <p:cNvSpPr>
            <a:spLocks noGrp="1"/>
          </p:cNvSpPr>
          <p:nvPr>
            <p:ph type="subTitle" idx="13"/>
          </p:nvPr>
        </p:nvSpPr>
        <p:spPr bwMode="gray">
          <a:xfrm>
            <a:off x="587374" y="1268413"/>
            <a:ext cx="11016000" cy="435600"/>
          </a:xfrm>
        </p:spPr>
        <p:txBody>
          <a:bodyPr/>
          <a:lstStyle>
            <a:lvl1pPr marL="0" indent="0" algn="l">
              <a:spcAft>
                <a:spcPts val="600"/>
              </a:spcAft>
              <a:buNone/>
              <a:defRPr sz="1800" cap="all" baseline="0">
                <a:solidFill>
                  <a:schemeClr val="tx2"/>
                </a:solidFill>
              </a:defRPr>
            </a:lvl1pPr>
            <a:lvl2pPr marL="0" indent="0" algn="l">
              <a:buNone/>
              <a:defRPr sz="1800" cap="all" baseline="0">
                <a:solidFill>
                  <a:schemeClr val="tx2"/>
                </a:solidFill>
              </a:defRPr>
            </a:lvl2pPr>
            <a:lvl3pPr marL="0" indent="0" algn="l">
              <a:buNone/>
              <a:defRPr sz="1800" cap="all" baseline="0">
                <a:solidFill>
                  <a:schemeClr val="tx2"/>
                </a:solidFill>
              </a:defRPr>
            </a:lvl3pPr>
            <a:lvl4pPr marL="0" indent="0" algn="l">
              <a:buNone/>
              <a:defRPr sz="1800" cap="all" baseline="0">
                <a:solidFill>
                  <a:schemeClr val="tx2"/>
                </a:solidFill>
              </a:defRPr>
            </a:lvl4pPr>
            <a:lvl5pPr marL="0" indent="0" algn="l">
              <a:buNone/>
              <a:defRPr sz="1800" cap="all" baseline="0">
                <a:solidFill>
                  <a:schemeClr val="tx2"/>
                </a:solidFill>
              </a:defRPr>
            </a:lvl5pPr>
            <a:lvl6pPr marL="0" indent="0" algn="l">
              <a:buNone/>
              <a:defRPr sz="1800" cap="all" baseline="0">
                <a:solidFill>
                  <a:schemeClr val="tx2"/>
                </a:solidFill>
              </a:defRPr>
            </a:lvl6pPr>
            <a:lvl7pPr marL="0" indent="0" algn="l">
              <a:buNone/>
              <a:defRPr sz="1800" cap="all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cap="all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667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59C8C40A-5AFF-4330-ADF1-BF8E2E464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9561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2A370EFC-F2F4-41A1-A7EC-CAE53E85C54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="" xmlns:a16="http://schemas.microsoft.com/office/drawing/2014/main" id="{A9B4A3D6-B25C-4747-A526-917B5D7086C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48B5EC2-FEC6-4212-9E61-3EBD3FA32D46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="" xmlns:a16="http://schemas.microsoft.com/office/drawing/2014/main" id="{5E4E9603-2CEA-408D-8511-A392869E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492199F7-9FE9-45EA-8AB0-2F8E87D93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noProof="0"/>
              <a:t>  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Title 8">
            <a:extLst>
              <a:ext uri="{FF2B5EF4-FFF2-40B4-BE49-F238E27FC236}">
                <a16:creationId xmlns="" xmlns:a16="http://schemas.microsoft.com/office/drawing/2014/main" id="{5DFA3556-1C45-48FF-8121-B2F71186F84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5" y="346076"/>
            <a:ext cx="11017249" cy="72008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F933FCB8-CEEB-428B-8E3D-868FFE5D1B35}"/>
              </a:ext>
            </a:extLst>
          </p:cNvPr>
          <p:cNvSpPr>
            <a:spLocks noGrp="1"/>
          </p:cNvSpPr>
          <p:nvPr>
            <p:ph type="subTitle" idx="13"/>
          </p:nvPr>
        </p:nvSpPr>
        <p:spPr bwMode="gray">
          <a:xfrm>
            <a:off x="587374" y="1268413"/>
            <a:ext cx="5364161" cy="435600"/>
          </a:xfrm>
        </p:spPr>
        <p:txBody>
          <a:bodyPr/>
          <a:lstStyle>
            <a:lvl1pPr marL="0" indent="0" algn="l">
              <a:spcAft>
                <a:spcPts val="600"/>
              </a:spcAft>
              <a:buNone/>
              <a:defRPr sz="1800" cap="all" baseline="0">
                <a:solidFill>
                  <a:schemeClr val="tx2"/>
                </a:solidFill>
              </a:defRPr>
            </a:lvl1pPr>
            <a:lvl2pPr marL="0" indent="0" algn="l">
              <a:buNone/>
              <a:defRPr sz="1800" cap="all" baseline="0">
                <a:solidFill>
                  <a:schemeClr val="tx2"/>
                </a:solidFill>
              </a:defRPr>
            </a:lvl2pPr>
            <a:lvl3pPr marL="0" indent="0" algn="l">
              <a:buNone/>
              <a:defRPr sz="1800" cap="all" baseline="0">
                <a:solidFill>
                  <a:schemeClr val="tx2"/>
                </a:solidFill>
              </a:defRPr>
            </a:lvl3pPr>
            <a:lvl4pPr marL="0" indent="0" algn="l">
              <a:buNone/>
              <a:defRPr sz="1800" cap="all" baseline="0">
                <a:solidFill>
                  <a:schemeClr val="tx2"/>
                </a:solidFill>
              </a:defRPr>
            </a:lvl4pPr>
            <a:lvl5pPr marL="0" indent="0" algn="l">
              <a:buNone/>
              <a:defRPr sz="1800" cap="all" baseline="0">
                <a:solidFill>
                  <a:schemeClr val="tx2"/>
                </a:solidFill>
              </a:defRPr>
            </a:lvl5pPr>
            <a:lvl6pPr marL="0" indent="0" algn="l">
              <a:buNone/>
              <a:defRPr sz="1800" cap="all" baseline="0">
                <a:solidFill>
                  <a:schemeClr val="tx2"/>
                </a:solidFill>
              </a:defRPr>
            </a:lvl6pPr>
            <a:lvl7pPr marL="0" indent="0" algn="l">
              <a:buNone/>
              <a:defRPr sz="1800" cap="all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cap="all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="" xmlns:a16="http://schemas.microsoft.com/office/drawing/2014/main" id="{2BF33F89-D0E7-4F7B-8430-B767C0C4FD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40463" y="1268413"/>
            <a:ext cx="5364162" cy="4349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cap="all" baseline="0">
                <a:solidFill>
                  <a:schemeClr val="tx2"/>
                </a:solidFill>
              </a:defRPr>
            </a:lvl1pPr>
            <a:lvl2pPr marL="0" indent="0">
              <a:buNone/>
              <a:defRPr sz="1800" cap="all" baseline="0">
                <a:solidFill>
                  <a:schemeClr val="tx2"/>
                </a:solidFill>
              </a:defRPr>
            </a:lvl2pPr>
            <a:lvl3pPr marL="0" indent="0">
              <a:buNone/>
              <a:defRPr sz="1800" cap="all" baseline="0">
                <a:solidFill>
                  <a:schemeClr val="tx2"/>
                </a:solidFill>
              </a:defRPr>
            </a:lvl3pPr>
            <a:lvl4pPr marL="0" indent="0">
              <a:buNone/>
              <a:defRPr sz="1800" cap="all" baseline="0">
                <a:solidFill>
                  <a:schemeClr val="tx2"/>
                </a:solidFill>
              </a:defRPr>
            </a:lvl4pPr>
            <a:lvl5pPr marL="0" indent="0">
              <a:buNone/>
              <a:defRPr sz="1800" cap="all" baseline="0">
                <a:solidFill>
                  <a:schemeClr val="tx2"/>
                </a:solidFill>
              </a:defRPr>
            </a:lvl5pPr>
            <a:lvl6pPr marL="0" indent="0">
              <a:defRPr sz="1800" cap="all" baseline="0">
                <a:solidFill>
                  <a:schemeClr val="tx2"/>
                </a:solidFill>
              </a:defRPr>
            </a:lvl6pPr>
            <a:lvl7pPr marL="0" indent="0">
              <a:buNone/>
              <a:defRPr sz="1800" cap="all" baseline="0">
                <a:solidFill>
                  <a:schemeClr val="tx2"/>
                </a:solidFill>
              </a:defRPr>
            </a:lvl7pPr>
            <a:lvl8pPr marL="0" indent="0">
              <a:buNone/>
              <a:defRPr sz="1800" cap="all" baseline="0">
                <a:solidFill>
                  <a:schemeClr val="tx2"/>
                </a:solidFill>
              </a:defRPr>
            </a:lvl8pPr>
            <a:lvl9pPr marL="0" indent="0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="" xmlns:a16="http://schemas.microsoft.com/office/drawing/2014/main" id="{AD1CEEDB-01BF-4333-9ACF-12A07598D9E7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587375" y="1773238"/>
            <a:ext cx="5364160" cy="424815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="" xmlns:a16="http://schemas.microsoft.com/office/drawing/2014/main" id="{78E53C12-BB83-4A81-9914-D214910D0282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6240463" y="1773238"/>
            <a:ext cx="5364000" cy="424815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="" xmlns:a16="http://schemas.microsoft.com/office/drawing/2014/main" id="{D684218B-6FB3-4328-87F8-2D0211129D2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87375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1980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="" xmlns:a16="http://schemas.microsoft.com/office/drawing/2014/main" id="{659CA7CE-6892-4E92-8888-37A0DF1280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98456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5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="" xmlns:a16="http://schemas.microsoft.com/office/drawing/2014/main" id="{51EDC7C2-EEA2-466C-85D7-B8B0D89C3E9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="" xmlns:a16="http://schemas.microsoft.com/office/drawing/2014/main" id="{A9B4A3D6-B25C-4747-A526-917B5D7086C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85CB392-4C0F-4C6D-8115-CF725B0FBB23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="" xmlns:a16="http://schemas.microsoft.com/office/drawing/2014/main" id="{5E4E9603-2CEA-408D-8511-A392869E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492199F7-9FE9-45EA-8AB0-2F8E87D93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noProof="0"/>
              <a:t>  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Bildplatzhalter 9">
            <a:extLst>
              <a:ext uri="{FF2B5EF4-FFF2-40B4-BE49-F238E27FC236}">
                <a16:creationId xmlns="" xmlns:a16="http://schemas.microsoft.com/office/drawing/2014/main" id="{FC37FD9D-6DF8-4B6E-8900-573E5212B6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1268413"/>
            <a:ext cx="5951538" cy="4752975"/>
          </a:xfrm>
        </p:spPr>
        <p:txBody>
          <a:bodyPr lIns="108000" tIns="72000" rIns="72000"/>
          <a:lstStyle>
            <a:lvl1pPr>
              <a:defRPr sz="12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0F34A95A-5F2D-4B9E-8C26-1A7E054962E6}"/>
              </a:ext>
            </a:extLst>
          </p:cNvPr>
          <p:cNvSpPr>
            <a:spLocks noGrp="1"/>
          </p:cNvSpPr>
          <p:nvPr>
            <p:ph type="subTitle" idx="13"/>
          </p:nvPr>
        </p:nvSpPr>
        <p:spPr bwMode="gray">
          <a:xfrm>
            <a:off x="6240461" y="1268413"/>
            <a:ext cx="5364000" cy="435600"/>
          </a:xfrm>
        </p:spPr>
        <p:txBody>
          <a:bodyPr/>
          <a:lstStyle>
            <a:lvl1pPr marL="0" indent="0" algn="l">
              <a:spcAft>
                <a:spcPts val="600"/>
              </a:spcAft>
              <a:buNone/>
              <a:defRPr sz="1800" cap="all" baseline="0">
                <a:solidFill>
                  <a:schemeClr val="tx2"/>
                </a:solidFill>
              </a:defRPr>
            </a:lvl1pPr>
            <a:lvl2pPr marL="0" indent="0" algn="l">
              <a:buNone/>
              <a:defRPr sz="1800" cap="all" baseline="0">
                <a:solidFill>
                  <a:schemeClr val="tx2"/>
                </a:solidFill>
              </a:defRPr>
            </a:lvl2pPr>
            <a:lvl3pPr marL="0" indent="0" algn="l">
              <a:buNone/>
              <a:defRPr sz="1800" cap="all" baseline="0">
                <a:solidFill>
                  <a:schemeClr val="tx2"/>
                </a:solidFill>
              </a:defRPr>
            </a:lvl3pPr>
            <a:lvl4pPr marL="0" indent="0" algn="l">
              <a:buNone/>
              <a:defRPr sz="1800" cap="all" baseline="0">
                <a:solidFill>
                  <a:schemeClr val="tx2"/>
                </a:solidFill>
              </a:defRPr>
            </a:lvl4pPr>
            <a:lvl5pPr marL="0" indent="0" algn="l">
              <a:buNone/>
              <a:defRPr sz="1800" cap="all" baseline="0">
                <a:solidFill>
                  <a:schemeClr val="tx2"/>
                </a:solidFill>
              </a:defRPr>
            </a:lvl5pPr>
            <a:lvl6pPr marL="0" indent="0" algn="l">
              <a:buNone/>
              <a:defRPr sz="1800" cap="all" baseline="0">
                <a:solidFill>
                  <a:schemeClr val="tx2"/>
                </a:solidFill>
              </a:defRPr>
            </a:lvl6pPr>
            <a:lvl7pPr marL="0" indent="0" algn="l">
              <a:buNone/>
              <a:defRPr sz="1800" cap="all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cap="all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DB5D1BB-CE92-40CE-A10F-E52FC8BD14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6240463" y="1773238"/>
            <a:ext cx="5364000" cy="424815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="" xmlns:a16="http://schemas.microsoft.com/office/drawing/2014/main" id="{40EADE19-5898-4E1D-B505-FBF7D117CB42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="" xmlns:a16="http://schemas.microsoft.com/office/drawing/2014/main" id="{1E636D15-B864-4A22-819C-D9B8E76C26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86800" y="6057900"/>
            <a:ext cx="11016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4929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2" pos="3749" userDrawn="1">
          <p15:clr>
            <a:srgbClr val="FBAE40"/>
          </p15:clr>
        </p15:guide>
        <p15:guide id="3" pos="393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highligh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="" xmlns:a16="http://schemas.microsoft.com/office/drawing/2014/main" id="{1BE34DD7-6111-4790-B270-ADDB50505401}"/>
              </a:ext>
            </a:extLst>
          </p:cNvPr>
          <p:cNvSpPr/>
          <p:nvPr userDrawn="1"/>
        </p:nvSpPr>
        <p:spPr bwMode="gray">
          <a:xfrm>
            <a:off x="7336953" y="1268413"/>
            <a:ext cx="4864100" cy="47529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600" noProof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08B1DAE7-0E19-4096-AA06-34A46B65E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47645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3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19554D2-6CB4-45C8-8224-34FD01CA3800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92BCC550-2B66-4DED-9EE5-47DB770066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7942262" y="2847479"/>
            <a:ext cx="3662363" cy="3173909"/>
          </a:xfrm>
          <a:noFill/>
        </p:spPr>
        <p:txBody>
          <a:bodyPr lIns="0" tIns="0"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 marL="979488" indent="-171450">
              <a:buClr>
                <a:schemeClr val="bg1"/>
              </a:buClr>
              <a:buFont typeface="Verdana" panose="020B0604030504040204" pitchFamily="34" charset="0"/>
              <a:buChar char="–"/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="" xmlns:a16="http://schemas.microsoft.com/office/drawing/2014/main" id="{6C3CBE1F-89B8-436E-BA2B-DFE119AFA6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7942264" y="1906587"/>
            <a:ext cx="3662362" cy="574114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600" b="1" i="0" cap="all" baseline="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600" b="1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="" xmlns:a16="http://schemas.microsoft.com/office/drawing/2014/main" id="{A9B4A3D6-B25C-4747-A526-917B5D7086C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1A40A3-5C9A-4D1C-873A-20A20FA61F30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="" xmlns:a16="http://schemas.microsoft.com/office/drawing/2014/main" id="{5E4E9603-2CEA-408D-8511-A392869E5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="" xmlns:a16="http://schemas.microsoft.com/office/drawing/2014/main" id="{492199F7-9FE9-45EA-8AB0-2F8E87D93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noProof="0"/>
              <a:t>  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="" xmlns:a16="http://schemas.microsoft.com/office/drawing/2014/main" id="{625FCD1E-5B1C-40BD-B3FC-8392FF60F38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5" y="346076"/>
            <a:ext cx="11017249" cy="720081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="" xmlns:a16="http://schemas.microsoft.com/office/drawing/2014/main" id="{FB06ECD0-AE97-424E-9B20-B60D822AD911}"/>
              </a:ext>
            </a:extLst>
          </p:cNvPr>
          <p:cNvSpPr>
            <a:spLocks noGrp="1"/>
          </p:cNvSpPr>
          <p:nvPr>
            <p:ph type="subTitle" idx="13"/>
          </p:nvPr>
        </p:nvSpPr>
        <p:spPr bwMode="gray">
          <a:xfrm>
            <a:off x="587374" y="1268413"/>
            <a:ext cx="6444000" cy="435600"/>
          </a:xfrm>
        </p:spPr>
        <p:txBody>
          <a:bodyPr/>
          <a:lstStyle>
            <a:lvl1pPr marL="0" indent="0" algn="l">
              <a:spcAft>
                <a:spcPts val="600"/>
              </a:spcAft>
              <a:buNone/>
              <a:defRPr sz="1800" cap="all" baseline="0">
                <a:solidFill>
                  <a:schemeClr val="tx2"/>
                </a:solidFill>
              </a:defRPr>
            </a:lvl1pPr>
            <a:lvl2pPr marL="0" indent="0" algn="l">
              <a:buNone/>
              <a:defRPr sz="1800" cap="all" baseline="0">
                <a:solidFill>
                  <a:schemeClr val="tx2"/>
                </a:solidFill>
              </a:defRPr>
            </a:lvl2pPr>
            <a:lvl3pPr marL="0" indent="0" algn="l">
              <a:buNone/>
              <a:defRPr sz="1800" cap="all" baseline="0">
                <a:solidFill>
                  <a:schemeClr val="tx2"/>
                </a:solidFill>
              </a:defRPr>
            </a:lvl3pPr>
            <a:lvl4pPr marL="0" indent="0" algn="l">
              <a:buNone/>
              <a:defRPr sz="1800" cap="all" baseline="0">
                <a:solidFill>
                  <a:schemeClr val="tx2"/>
                </a:solidFill>
              </a:defRPr>
            </a:lvl4pPr>
            <a:lvl5pPr marL="0" indent="0" algn="l">
              <a:buNone/>
              <a:defRPr sz="1800" cap="all" baseline="0">
                <a:solidFill>
                  <a:schemeClr val="tx2"/>
                </a:solidFill>
              </a:defRPr>
            </a:lvl5pPr>
            <a:lvl6pPr marL="0" indent="0" algn="l">
              <a:buNone/>
              <a:defRPr sz="1800" cap="all" baseline="0">
                <a:solidFill>
                  <a:schemeClr val="tx2"/>
                </a:solidFill>
              </a:defRPr>
            </a:lvl6pPr>
            <a:lvl7pPr marL="0" indent="0" algn="l">
              <a:buNone/>
              <a:defRPr sz="1800" cap="all" baseline="0">
                <a:solidFill>
                  <a:schemeClr val="tx2"/>
                </a:solidFill>
              </a:defRPr>
            </a:lvl7pPr>
            <a:lvl8pPr marL="0" indent="0" algn="l">
              <a:buNone/>
              <a:defRPr sz="1800" cap="all" baseline="0">
                <a:solidFill>
                  <a:schemeClr val="tx2"/>
                </a:solidFill>
              </a:defRPr>
            </a:lvl8pPr>
            <a:lvl9pPr marL="0" indent="0" algn="l">
              <a:buNone/>
              <a:defRPr sz="1800" cap="all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106A6251-4726-4826-893F-A5182931C08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87375" y="1773238"/>
            <a:ext cx="6444000" cy="424815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="" xmlns:a16="http://schemas.microsoft.com/office/drawing/2014/main" id="{4604FBED-869A-4A6A-9198-C4031D080C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86800" y="6057900"/>
            <a:ext cx="10998000" cy="192139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800"/>
            </a:lvl1pPr>
            <a:lvl2pPr marL="0" indent="0">
              <a:spcAft>
                <a:spcPts val="0"/>
              </a:spcAft>
              <a:buNone/>
              <a:defRPr sz="700"/>
            </a:lvl2pPr>
            <a:lvl3pPr marL="0" indent="0">
              <a:spcAft>
                <a:spcPts val="0"/>
              </a:spcAft>
              <a:buNone/>
              <a:defRPr sz="700"/>
            </a:lvl3pPr>
            <a:lvl4pPr marL="0" indent="0">
              <a:spcAft>
                <a:spcPts val="0"/>
              </a:spcAft>
              <a:buNone/>
              <a:defRPr sz="700"/>
            </a:lvl4pPr>
            <a:lvl5pPr marL="0" indent="0">
              <a:spcAft>
                <a:spcPts val="0"/>
              </a:spcAft>
              <a:buNone/>
              <a:defRPr sz="700"/>
            </a:lvl5pPr>
            <a:lvl6pPr marL="0" indent="0" algn="l">
              <a:spcAft>
                <a:spcPts val="0"/>
              </a:spcAft>
              <a:defRPr sz="700"/>
            </a:lvl6pPr>
            <a:lvl7pPr marL="0" indent="0">
              <a:spcAft>
                <a:spcPts val="0"/>
              </a:spcAft>
              <a:buNone/>
              <a:defRPr sz="700"/>
            </a:lvl7pPr>
            <a:lvl8pPr marL="0" indent="0">
              <a:spcAft>
                <a:spcPts val="0"/>
              </a:spcAft>
              <a:buNone/>
              <a:defRPr sz="700"/>
            </a:lvl8pPr>
            <a:lvl9pPr marL="0" indent="0">
              <a:spcAft>
                <a:spcPts val="0"/>
              </a:spcAft>
              <a:buNone/>
              <a:tabLst/>
              <a:defRPr sz="7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="" xmlns:a16="http://schemas.microsoft.com/office/drawing/2014/main" id="{7D37239F-F8B4-4EFD-9530-B10A6382B98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1899106" y="1268413"/>
            <a:ext cx="0" cy="475297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115571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pos="443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="" xmlns:a16="http://schemas.microsoft.com/office/drawing/2014/main" id="{7FA8F2F7-553A-495E-937C-6CFFC5F51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126477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"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="" xmlns:a16="http://schemas.microsoft.com/office/drawing/2014/main" id="{907F7C48-ED46-4844-AA2B-948F4AF51F45}"/>
              </a:ext>
            </a:extLst>
          </p:cNvPr>
          <p:cNvSpPr/>
          <p:nvPr userDrawn="1">
            <p:custDataLst>
              <p:tags r:id="rId27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DA0E7D88-F8D9-4AF7-A8CB-6121CB5193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799036" y="6607764"/>
            <a:ext cx="4356000" cy="14312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  <a:lvl2pPr marL="0" indent="0" algn="r">
              <a:defRPr sz="700">
                <a:solidFill>
                  <a:schemeClr val="tx1"/>
                </a:solidFill>
              </a:defRPr>
            </a:lvl2pPr>
            <a:lvl3pPr marL="0" indent="0" algn="r">
              <a:defRPr sz="700"/>
            </a:lvl3pPr>
            <a:lvl4pPr marL="0" indent="0" algn="r">
              <a:defRPr sz="700"/>
            </a:lvl4pPr>
            <a:lvl5pPr marL="0" indent="0" algn="r">
              <a:defRPr sz="700"/>
            </a:lvl5pPr>
            <a:lvl6pPr marL="0" indent="0" algn="r">
              <a:defRPr sz="700">
                <a:solidFill>
                  <a:schemeClr val="tx1"/>
                </a:solidFill>
              </a:defRPr>
            </a:lvl6pPr>
            <a:lvl7pPr marL="0" indent="0" algn="r">
              <a:defRPr sz="700">
                <a:solidFill>
                  <a:schemeClr val="tx1"/>
                </a:solidFill>
              </a:defRPr>
            </a:lvl7pPr>
            <a:lvl8pPr marL="0" indent="0" algn="r">
              <a:defRPr sz="700">
                <a:solidFill>
                  <a:schemeClr val="tx1"/>
                </a:solidFill>
              </a:defRPr>
            </a:lvl8pPr>
            <a:lvl9pPr marL="0" indent="0" algn="r">
              <a:defRPr sz="700"/>
            </a:lvl9pPr>
          </a:lstStyle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 dirty="0"/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FD3C17AE-1E83-40A8-A3AF-92A45C668A5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270331" y="6607764"/>
            <a:ext cx="628044" cy="14312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  <a:lvl2pPr marL="0" indent="0" algn="r">
              <a:defRPr sz="700"/>
            </a:lvl2pPr>
            <a:lvl3pPr marL="0" indent="0" algn="r">
              <a:defRPr sz="700"/>
            </a:lvl3pPr>
            <a:lvl4pPr marL="0" indent="0" algn="r">
              <a:defRPr sz="700"/>
            </a:lvl4pPr>
            <a:lvl5pPr marL="0" indent="0" algn="r">
              <a:defRPr sz="700"/>
            </a:lvl5pPr>
            <a:lvl6pPr marL="0" indent="0" algn="r">
              <a:defRPr sz="700"/>
            </a:lvl6pPr>
            <a:lvl7pPr marL="0" indent="0" algn="r">
              <a:defRPr sz="700"/>
            </a:lvl7pPr>
            <a:lvl8pPr marL="0" indent="0" algn="r">
              <a:defRPr sz="700"/>
            </a:lvl8pPr>
            <a:lvl9pPr marL="0" indent="0" algn="r">
              <a:defRPr sz="700"/>
            </a:lvl9pPr>
          </a:lstStyle>
          <a:p>
            <a:fld id="{26EB36C7-7E2F-4DDC-A9E2-9310C36AB538}" type="datetime1">
              <a:rPr lang="en-US" noProof="0" smtClean="0"/>
              <a:t>4/29/2020</a:t>
            </a:fld>
            <a:endParaRPr lang="en-US" noProof="0" dirty="0"/>
          </a:p>
        </p:txBody>
      </p:sp>
      <p:sp>
        <p:nvSpPr>
          <p:cNvPr id="2" name="Titelplatzhalter 1">
            <a:extLst>
              <a:ext uri="{FF2B5EF4-FFF2-40B4-BE49-F238E27FC236}">
                <a16:creationId xmlns="" xmlns:a16="http://schemas.microsoft.com/office/drawing/2014/main" id="{E0835B4E-1D5A-46FE-B3E6-A6A94478742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5" y="346076"/>
            <a:ext cx="11017249" cy="7200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09A867B3-B93E-46EE-8A1A-43CD7D669D1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87375" y="1773243"/>
            <a:ext cx="11017249" cy="4248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="" xmlns:a16="http://schemas.microsoft.com/office/drawing/2014/main" id="{30AEE3E5-BEE8-43A1-B37D-9D1E873304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908000" y="6607764"/>
            <a:ext cx="696624" cy="1431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  <a:lvl2pPr marL="0" indent="0">
              <a:defRPr sz="700" b="1"/>
            </a:lvl2pPr>
            <a:lvl3pPr marL="0" indent="0">
              <a:defRPr sz="700" b="1"/>
            </a:lvl3pPr>
            <a:lvl4pPr marL="0" indent="0">
              <a:defRPr sz="700" b="1"/>
            </a:lvl4pPr>
            <a:lvl5pPr marL="0" indent="0">
              <a:tabLst/>
              <a:defRPr sz="700" b="1"/>
            </a:lvl5pPr>
            <a:lvl6pPr marL="0" indent="0">
              <a:defRPr sz="700" b="1"/>
            </a:lvl6pPr>
            <a:lvl7pPr marL="0" indent="0">
              <a:defRPr sz="700" b="1"/>
            </a:lvl7pPr>
            <a:lvl8pPr marL="0" indent="0">
              <a:defRPr sz="700" b="1"/>
            </a:lvl8pPr>
            <a:lvl9pPr marL="0" indent="0">
              <a:defRPr sz="700" b="1"/>
            </a:lvl9pPr>
          </a:lstStyle>
          <a:p>
            <a:r>
              <a:rPr lang="en-US" noProof="0" dirty="0"/>
              <a:t>Page </a:t>
            </a:r>
            <a:fld id="{2CB2E8EB-2C5B-4D97-B458-C472B19B055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="" xmlns:a16="http://schemas.microsoft.com/office/drawing/2014/main" id="{83DFD8A4-8803-4A58-AFD2-D5DDCFDBB9A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574792" y="6530344"/>
            <a:ext cx="10617208" cy="0"/>
          </a:xfrm>
          <a:prstGeom prst="line">
            <a:avLst/>
          </a:prstGeom>
          <a:noFill/>
          <a:ln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" name="Gruppieren 7">
            <a:extLst>
              <a:ext uri="{FF2B5EF4-FFF2-40B4-BE49-F238E27FC236}">
                <a16:creationId xmlns="" xmlns:a16="http://schemas.microsoft.com/office/drawing/2014/main" id="{C5ABB3B1-C12F-485D-8B22-84DD727E4BB4}"/>
              </a:ext>
            </a:extLst>
          </p:cNvPr>
          <p:cNvGrpSpPr/>
          <p:nvPr userDrawn="1"/>
        </p:nvGrpSpPr>
        <p:grpSpPr bwMode="gray">
          <a:xfrm>
            <a:off x="597693" y="6450463"/>
            <a:ext cx="1071249" cy="235378"/>
            <a:chOff x="364785" y="474234"/>
            <a:chExt cx="1720030" cy="377928"/>
          </a:xfrm>
          <a:solidFill>
            <a:schemeClr val="tx2"/>
          </a:solidFill>
        </p:grpSpPr>
        <p:sp>
          <p:nvSpPr>
            <p:cNvPr id="9" name="Freihandform: Form 8">
              <a:extLst>
                <a:ext uri="{FF2B5EF4-FFF2-40B4-BE49-F238E27FC236}">
                  <a16:creationId xmlns="" xmlns:a16="http://schemas.microsoft.com/office/drawing/2014/main" id="{56C0214D-6E38-4AC9-B0F3-D6FDF13E3C81}"/>
                </a:ext>
              </a:extLst>
            </p:cNvPr>
            <p:cNvSpPr/>
            <p:nvPr/>
          </p:nvSpPr>
          <p:spPr bwMode="gray">
            <a:xfrm>
              <a:off x="364785" y="474234"/>
              <a:ext cx="479323" cy="129049"/>
            </a:xfrm>
            <a:custGeom>
              <a:avLst/>
              <a:gdLst>
                <a:gd name="connsiteX0" fmla="*/ 241743 w 479322"/>
                <a:gd name="connsiteY0" fmla="*/ 47248 h 129048"/>
                <a:gd name="connsiteX1" fmla="*/ 6690 w 479322"/>
                <a:gd name="connsiteY1" fmla="*/ 6690 h 129048"/>
                <a:gd name="connsiteX2" fmla="*/ 55544 w 479322"/>
                <a:gd name="connsiteY2" fmla="*/ 85963 h 129048"/>
                <a:gd name="connsiteX3" fmla="*/ 241743 w 479322"/>
                <a:gd name="connsiteY3" fmla="*/ 126521 h 129048"/>
                <a:gd name="connsiteX4" fmla="*/ 427019 w 479322"/>
                <a:gd name="connsiteY4" fmla="*/ 85963 h 129048"/>
                <a:gd name="connsiteX5" fmla="*/ 475873 w 479322"/>
                <a:gd name="connsiteY5" fmla="*/ 669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322" h="129048">
                  <a:moveTo>
                    <a:pt x="241743" y="47248"/>
                  </a:moveTo>
                  <a:lnTo>
                    <a:pt x="6690" y="6690"/>
                  </a:lnTo>
                  <a:lnTo>
                    <a:pt x="55544" y="85963"/>
                  </a:lnTo>
                  <a:lnTo>
                    <a:pt x="241743" y="126521"/>
                  </a:lnTo>
                  <a:lnTo>
                    <a:pt x="427019" y="85963"/>
                  </a:lnTo>
                  <a:lnTo>
                    <a:pt x="475873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="" xmlns:a16="http://schemas.microsoft.com/office/drawing/2014/main" id="{81D59562-B614-4DFF-AEAA-0F6384FB3B3D}"/>
                </a:ext>
              </a:extLst>
            </p:cNvPr>
            <p:cNvSpPr/>
            <p:nvPr/>
          </p:nvSpPr>
          <p:spPr bwMode="gray">
            <a:xfrm>
              <a:off x="549140" y="759984"/>
              <a:ext cx="110613" cy="92178"/>
            </a:xfrm>
            <a:custGeom>
              <a:avLst/>
              <a:gdLst>
                <a:gd name="connsiteX0" fmla="*/ 57388 w 110612"/>
                <a:gd name="connsiteY0" fmla="*/ 87806 h 92177"/>
                <a:gd name="connsiteX1" fmla="*/ 107164 w 110612"/>
                <a:gd name="connsiteY1" fmla="*/ 6690 h 92177"/>
                <a:gd name="connsiteX2" fmla="*/ 57388 w 110612"/>
                <a:gd name="connsiteY2" fmla="*/ 20517 h 92177"/>
                <a:gd name="connsiteX3" fmla="*/ 6690 w 110612"/>
                <a:gd name="connsiteY3" fmla="*/ 6690 h 92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612" h="92177">
                  <a:moveTo>
                    <a:pt x="57388" y="87806"/>
                  </a:moveTo>
                  <a:lnTo>
                    <a:pt x="107164" y="6690"/>
                  </a:lnTo>
                  <a:lnTo>
                    <a:pt x="57388" y="20517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2CD1FF38-AB51-4C2D-8651-375CB2882817}"/>
                </a:ext>
              </a:extLst>
            </p:cNvPr>
            <p:cNvSpPr/>
            <p:nvPr/>
          </p:nvSpPr>
          <p:spPr bwMode="gray">
            <a:xfrm>
              <a:off x="456962" y="625405"/>
              <a:ext cx="294968" cy="101395"/>
            </a:xfrm>
            <a:custGeom>
              <a:avLst/>
              <a:gdLst>
                <a:gd name="connsiteX0" fmla="*/ 6690 w 294967"/>
                <a:gd name="connsiteY0" fmla="*/ 6690 h 101395"/>
                <a:gd name="connsiteX1" fmla="*/ 149565 w 294967"/>
                <a:gd name="connsiteY1" fmla="*/ 36187 h 101395"/>
                <a:gd name="connsiteX2" fmla="*/ 291519 w 294967"/>
                <a:gd name="connsiteY2" fmla="*/ 6690 h 101395"/>
                <a:gd name="connsiteX3" fmla="*/ 246352 w 294967"/>
                <a:gd name="connsiteY3" fmla="*/ 78589 h 101395"/>
                <a:gd name="connsiteX4" fmla="*/ 149565 w 294967"/>
                <a:gd name="connsiteY4" fmla="*/ 103477 h 101395"/>
                <a:gd name="connsiteX5" fmla="*/ 51857 w 294967"/>
                <a:gd name="connsiteY5" fmla="*/ 78589 h 10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967" h="101395">
                  <a:moveTo>
                    <a:pt x="6690" y="6690"/>
                  </a:moveTo>
                  <a:lnTo>
                    <a:pt x="149565" y="36187"/>
                  </a:lnTo>
                  <a:lnTo>
                    <a:pt x="291519" y="6690"/>
                  </a:lnTo>
                  <a:lnTo>
                    <a:pt x="246352" y="78589"/>
                  </a:lnTo>
                  <a:lnTo>
                    <a:pt x="149565" y="103477"/>
                  </a:lnTo>
                  <a:lnTo>
                    <a:pt x="51857" y="7858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="" xmlns:a16="http://schemas.microsoft.com/office/drawing/2014/main" id="{AB322A42-83A7-4205-86FE-1C2F3CA38E93}"/>
                </a:ext>
              </a:extLst>
            </p:cNvPr>
            <p:cNvSpPr/>
            <p:nvPr/>
          </p:nvSpPr>
          <p:spPr bwMode="gray">
            <a:xfrm>
              <a:off x="1992638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="" xmlns:a16="http://schemas.microsoft.com/office/drawing/2014/main" id="{8A3A7A63-0A98-4B56-9692-CD20FDD72957}"/>
                </a:ext>
              </a:extLst>
            </p:cNvPr>
            <p:cNvSpPr/>
            <p:nvPr/>
          </p:nvSpPr>
          <p:spPr bwMode="gray">
            <a:xfrm>
              <a:off x="921536" y="714817"/>
              <a:ext cx="119831" cy="129049"/>
            </a:xfrm>
            <a:custGeom>
              <a:avLst/>
              <a:gdLst>
                <a:gd name="connsiteX0" fmla="*/ 90572 w 119830"/>
                <a:gd name="connsiteY0" fmla="*/ 119147 h 129048"/>
                <a:gd name="connsiteX1" fmla="*/ 90572 w 119830"/>
                <a:gd name="connsiteY1" fmla="*/ 61997 h 129048"/>
                <a:gd name="connsiteX2" fmla="*/ 61997 w 119830"/>
                <a:gd name="connsiteY2" fmla="*/ 122834 h 129048"/>
                <a:gd name="connsiteX3" fmla="*/ 33422 w 119830"/>
                <a:gd name="connsiteY3" fmla="*/ 61997 h 129048"/>
                <a:gd name="connsiteX4" fmla="*/ 33422 w 119830"/>
                <a:gd name="connsiteY4" fmla="*/ 119147 h 129048"/>
                <a:gd name="connsiteX5" fmla="*/ 6690 w 119830"/>
                <a:gd name="connsiteY5" fmla="*/ 119147 h 129048"/>
                <a:gd name="connsiteX6" fmla="*/ 6690 w 119830"/>
                <a:gd name="connsiteY6" fmla="*/ 6690 h 129048"/>
                <a:gd name="connsiteX7" fmla="*/ 33422 w 119830"/>
                <a:gd name="connsiteY7" fmla="*/ 6690 h 129048"/>
                <a:gd name="connsiteX8" fmla="*/ 61997 w 119830"/>
                <a:gd name="connsiteY8" fmla="*/ 69371 h 129048"/>
                <a:gd name="connsiteX9" fmla="*/ 90572 w 119830"/>
                <a:gd name="connsiteY9" fmla="*/ 6690 h 129048"/>
                <a:gd name="connsiteX10" fmla="*/ 117303 w 119830"/>
                <a:gd name="connsiteY10" fmla="*/ 6690 h 129048"/>
                <a:gd name="connsiteX11" fmla="*/ 117303 w 119830"/>
                <a:gd name="connsiteY11" fmla="*/ 119147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830" h="129048">
                  <a:moveTo>
                    <a:pt x="90572" y="119147"/>
                  </a:moveTo>
                  <a:lnTo>
                    <a:pt x="90572" y="61997"/>
                  </a:lnTo>
                  <a:lnTo>
                    <a:pt x="61997" y="122834"/>
                  </a:lnTo>
                  <a:lnTo>
                    <a:pt x="33422" y="61997"/>
                  </a:lnTo>
                  <a:lnTo>
                    <a:pt x="33422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33422" y="6690"/>
                  </a:lnTo>
                  <a:lnTo>
                    <a:pt x="61997" y="69371"/>
                  </a:lnTo>
                  <a:lnTo>
                    <a:pt x="90572" y="6690"/>
                  </a:lnTo>
                  <a:lnTo>
                    <a:pt x="117303" y="6690"/>
                  </a:lnTo>
                  <a:lnTo>
                    <a:pt x="117303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A8171E37-2A3F-43BD-96BC-5954CEC4A808}"/>
                </a:ext>
              </a:extLst>
            </p:cNvPr>
            <p:cNvSpPr/>
            <p:nvPr/>
          </p:nvSpPr>
          <p:spPr bwMode="gray">
            <a:xfrm>
              <a:off x="1154745" y="714817"/>
              <a:ext cx="101395" cy="119831"/>
            </a:xfrm>
            <a:custGeom>
              <a:avLst/>
              <a:gdLst>
                <a:gd name="connsiteX0" fmla="*/ 44483 w 101395"/>
                <a:gd name="connsiteY0" fmla="*/ 31578 h 119830"/>
                <a:gd name="connsiteX1" fmla="*/ 35265 w 101395"/>
                <a:gd name="connsiteY1" fmla="*/ 31578 h 119830"/>
                <a:gd name="connsiteX2" fmla="*/ 35265 w 101395"/>
                <a:gd name="connsiteY2" fmla="*/ 94259 h 119830"/>
                <a:gd name="connsiteX3" fmla="*/ 43561 w 101395"/>
                <a:gd name="connsiteY3" fmla="*/ 94259 h 119830"/>
                <a:gd name="connsiteX4" fmla="*/ 73058 w 101395"/>
                <a:gd name="connsiteY4" fmla="*/ 62919 h 119830"/>
                <a:gd name="connsiteX5" fmla="*/ 44483 w 101395"/>
                <a:gd name="connsiteY5" fmla="*/ 31578 h 119830"/>
                <a:gd name="connsiteX6" fmla="*/ 42640 w 101395"/>
                <a:gd name="connsiteY6" fmla="*/ 119147 h 119830"/>
                <a:gd name="connsiteX7" fmla="*/ 6690 w 101395"/>
                <a:gd name="connsiteY7" fmla="*/ 119147 h 119830"/>
                <a:gd name="connsiteX8" fmla="*/ 6690 w 101395"/>
                <a:gd name="connsiteY8" fmla="*/ 6690 h 119830"/>
                <a:gd name="connsiteX9" fmla="*/ 44483 w 101395"/>
                <a:gd name="connsiteY9" fmla="*/ 6690 h 119830"/>
                <a:gd name="connsiteX10" fmla="*/ 101633 w 101395"/>
                <a:gd name="connsiteY10" fmla="*/ 62919 h 119830"/>
                <a:gd name="connsiteX11" fmla="*/ 42640 w 101395"/>
                <a:gd name="connsiteY11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395" h="119830">
                  <a:moveTo>
                    <a:pt x="44483" y="31578"/>
                  </a:moveTo>
                  <a:lnTo>
                    <a:pt x="35265" y="31578"/>
                  </a:lnTo>
                  <a:lnTo>
                    <a:pt x="35265" y="94259"/>
                  </a:lnTo>
                  <a:lnTo>
                    <a:pt x="43561" y="94259"/>
                  </a:lnTo>
                  <a:cubicBezTo>
                    <a:pt x="64762" y="94259"/>
                    <a:pt x="73058" y="85041"/>
                    <a:pt x="73058" y="62919"/>
                  </a:cubicBezTo>
                  <a:cubicBezTo>
                    <a:pt x="73058" y="40796"/>
                    <a:pt x="65684" y="31578"/>
                    <a:pt x="44483" y="31578"/>
                  </a:cubicBezTo>
                  <a:moveTo>
                    <a:pt x="42640" y="119147"/>
                  </a:moveTo>
                  <a:lnTo>
                    <a:pt x="6690" y="119147"/>
                  </a:lnTo>
                  <a:lnTo>
                    <a:pt x="6690" y="6690"/>
                  </a:lnTo>
                  <a:lnTo>
                    <a:pt x="44483" y="6690"/>
                  </a:lnTo>
                  <a:cubicBezTo>
                    <a:pt x="78589" y="6690"/>
                    <a:pt x="101633" y="20517"/>
                    <a:pt x="101633" y="62919"/>
                  </a:cubicBezTo>
                  <a:cubicBezTo>
                    <a:pt x="102555" y="103477"/>
                    <a:pt x="78589" y="119147"/>
                    <a:pt x="42640" y="119147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="" xmlns:a16="http://schemas.microsoft.com/office/drawing/2014/main" id="{031A0E6E-7766-4903-B2D7-C02FEA496432}"/>
                </a:ext>
              </a:extLst>
            </p:cNvPr>
            <p:cNvSpPr/>
            <p:nvPr/>
          </p:nvSpPr>
          <p:spPr bwMode="gray">
            <a:xfrm>
              <a:off x="1266280" y="714817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19147 h 119830"/>
                <a:gd name="connsiteX3" fmla="*/ 6690 w 36870"/>
                <a:gd name="connsiteY3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19147"/>
                  </a:lnTo>
                  <a:lnTo>
                    <a:pt x="6690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="" xmlns:a16="http://schemas.microsoft.com/office/drawing/2014/main" id="{AF2DCCC7-9A6D-4679-9BFD-985F8309BBA8}"/>
                </a:ext>
              </a:extLst>
            </p:cNvPr>
            <p:cNvSpPr/>
            <p:nvPr/>
          </p:nvSpPr>
          <p:spPr bwMode="gray">
            <a:xfrm>
              <a:off x="1311447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6606" y="32500"/>
                    <a:pt x="71214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="" xmlns:a16="http://schemas.microsoft.com/office/drawing/2014/main" id="{419D4639-69A4-4B20-BA98-E0F13ABF2642}"/>
                </a:ext>
              </a:extLst>
            </p:cNvPr>
            <p:cNvSpPr/>
            <p:nvPr/>
          </p:nvSpPr>
          <p:spPr bwMode="gray">
            <a:xfrm>
              <a:off x="1407311" y="714817"/>
              <a:ext cx="119831" cy="119831"/>
            </a:xfrm>
            <a:custGeom>
              <a:avLst/>
              <a:gdLst>
                <a:gd name="connsiteX0" fmla="*/ 50935 w 119830"/>
                <a:gd name="connsiteY0" fmla="*/ 73980 h 119830"/>
                <a:gd name="connsiteX1" fmla="*/ 73058 w 119830"/>
                <a:gd name="connsiteY1" fmla="*/ 73980 h 119830"/>
                <a:gd name="connsiteX2" fmla="*/ 61997 w 119830"/>
                <a:gd name="connsiteY2" fmla="*/ 38031 h 119830"/>
                <a:gd name="connsiteX3" fmla="*/ 50935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935" y="73980"/>
                  </a:moveTo>
                  <a:lnTo>
                    <a:pt x="73058" y="73980"/>
                  </a:lnTo>
                  <a:lnTo>
                    <a:pt x="61997" y="38031"/>
                  </a:lnTo>
                  <a:lnTo>
                    <a:pt x="50935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="" xmlns:a16="http://schemas.microsoft.com/office/drawing/2014/main" id="{05F77857-58C9-41CB-BC38-211B5394188B}"/>
                </a:ext>
              </a:extLst>
            </p:cNvPr>
            <p:cNvSpPr/>
            <p:nvPr/>
          </p:nvSpPr>
          <p:spPr bwMode="gray">
            <a:xfrm>
              <a:off x="1529907" y="714817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86885 w 92177"/>
                <a:gd name="connsiteY1" fmla="*/ 119147 h 119830"/>
                <a:gd name="connsiteX2" fmla="*/ 86885 w 92177"/>
                <a:gd name="connsiteY2" fmla="*/ 93337 h 119830"/>
                <a:gd name="connsiteX3" fmla="*/ 35265 w 92177"/>
                <a:gd name="connsiteY3" fmla="*/ 93337 h 119830"/>
                <a:gd name="connsiteX4" fmla="*/ 35265 w 92177"/>
                <a:gd name="connsiteY4" fmla="*/ 6690 h 119830"/>
                <a:gd name="connsiteX5" fmla="*/ 6690 w 92177"/>
                <a:gd name="connsiteY5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86885" y="119147"/>
                  </a:lnTo>
                  <a:lnTo>
                    <a:pt x="86885" y="93337"/>
                  </a:lnTo>
                  <a:lnTo>
                    <a:pt x="35265" y="93337"/>
                  </a:lnTo>
                  <a:lnTo>
                    <a:pt x="35265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="" xmlns:a16="http://schemas.microsoft.com/office/drawing/2014/main" id="{7CBDD32C-4F50-45E8-BE45-4C13F553AD90}"/>
                </a:ext>
              </a:extLst>
            </p:cNvPr>
            <p:cNvSpPr/>
            <p:nvPr/>
          </p:nvSpPr>
          <p:spPr bwMode="gray">
            <a:xfrm>
              <a:off x="1663564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7527" y="32500"/>
                    <a:pt x="72136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="" xmlns:a16="http://schemas.microsoft.com/office/drawing/2014/main" id="{346319DE-4A04-46AD-B513-88C81E2CFAC0}"/>
                </a:ext>
              </a:extLst>
            </p:cNvPr>
            <p:cNvSpPr/>
            <p:nvPr/>
          </p:nvSpPr>
          <p:spPr bwMode="gray">
            <a:xfrm>
              <a:off x="1760351" y="714817"/>
              <a:ext cx="119831" cy="119831"/>
            </a:xfrm>
            <a:custGeom>
              <a:avLst/>
              <a:gdLst>
                <a:gd name="connsiteX0" fmla="*/ 50014 w 119830"/>
                <a:gd name="connsiteY0" fmla="*/ 73980 h 119830"/>
                <a:gd name="connsiteX1" fmla="*/ 72136 w 119830"/>
                <a:gd name="connsiteY1" fmla="*/ 73980 h 119830"/>
                <a:gd name="connsiteX2" fmla="*/ 61075 w 119830"/>
                <a:gd name="connsiteY2" fmla="*/ 38031 h 119830"/>
                <a:gd name="connsiteX3" fmla="*/ 50014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014" y="73980"/>
                  </a:moveTo>
                  <a:lnTo>
                    <a:pt x="72136" y="73980"/>
                  </a:lnTo>
                  <a:lnTo>
                    <a:pt x="61075" y="38031"/>
                  </a:lnTo>
                  <a:lnTo>
                    <a:pt x="50014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="" xmlns:a16="http://schemas.microsoft.com/office/drawing/2014/main" id="{FBCB146A-784C-45AE-8287-525D34FBB37A}"/>
                </a:ext>
              </a:extLst>
            </p:cNvPr>
            <p:cNvSpPr/>
            <p:nvPr/>
          </p:nvSpPr>
          <p:spPr bwMode="gray">
            <a:xfrm>
              <a:off x="1882947" y="714817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1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1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="" xmlns:a16="http://schemas.microsoft.com/office/drawing/2014/main" id="{A7F4E4D7-3DE7-4E07-9B87-7BE1D89AF913}"/>
                </a:ext>
              </a:extLst>
            </p:cNvPr>
            <p:cNvSpPr/>
            <p:nvPr/>
          </p:nvSpPr>
          <p:spPr bwMode="gray">
            <a:xfrm>
              <a:off x="1054272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="" xmlns:a16="http://schemas.microsoft.com/office/drawing/2014/main" id="{D1FA0830-A873-4377-BED5-B5A70C724FED}"/>
                </a:ext>
              </a:extLst>
            </p:cNvPr>
            <p:cNvSpPr/>
            <p:nvPr/>
          </p:nvSpPr>
          <p:spPr bwMode="gray">
            <a:xfrm>
              <a:off x="1695827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90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1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90" y="111773"/>
                    <a:pt x="99790" y="87807"/>
                  </a:cubicBezTo>
                  <a:cubicBezTo>
                    <a:pt x="99790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1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="" xmlns:a16="http://schemas.microsoft.com/office/drawing/2014/main" id="{1589D82E-C38B-4452-AADA-383BB4BCA5C4}"/>
                </a:ext>
              </a:extLst>
            </p:cNvPr>
            <p:cNvSpPr/>
            <p:nvPr/>
          </p:nvSpPr>
          <p:spPr bwMode="gray">
            <a:xfrm>
              <a:off x="921536" y="545210"/>
              <a:ext cx="92177" cy="119831"/>
            </a:xfrm>
            <a:custGeom>
              <a:avLst/>
              <a:gdLst>
                <a:gd name="connsiteX0" fmla="*/ 35265 w 92177"/>
                <a:gd name="connsiteY0" fmla="*/ 31578 h 119830"/>
                <a:gd name="connsiteX1" fmla="*/ 35265 w 92177"/>
                <a:gd name="connsiteY1" fmla="*/ 49092 h 119830"/>
                <a:gd name="connsiteX2" fmla="*/ 74902 w 92177"/>
                <a:gd name="connsiteY2" fmla="*/ 49092 h 119830"/>
                <a:gd name="connsiteX3" fmla="*/ 74902 w 92177"/>
                <a:gd name="connsiteY3" fmla="*/ 73980 h 119830"/>
                <a:gd name="connsiteX4" fmla="*/ 35265 w 92177"/>
                <a:gd name="connsiteY4" fmla="*/ 73980 h 119830"/>
                <a:gd name="connsiteX5" fmla="*/ 35265 w 92177"/>
                <a:gd name="connsiteY5" fmla="*/ 119147 h 119830"/>
                <a:gd name="connsiteX6" fmla="*/ 6690 w 92177"/>
                <a:gd name="connsiteY6" fmla="*/ 119147 h 119830"/>
                <a:gd name="connsiteX7" fmla="*/ 6690 w 92177"/>
                <a:gd name="connsiteY7" fmla="*/ 6690 h 119830"/>
                <a:gd name="connsiteX8" fmla="*/ 90572 w 92177"/>
                <a:gd name="connsiteY8" fmla="*/ 6690 h 119830"/>
                <a:gd name="connsiteX9" fmla="*/ 90572 w 92177"/>
                <a:gd name="connsiteY9" fmla="*/ 31578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177" h="119830">
                  <a:moveTo>
                    <a:pt x="35265" y="31578"/>
                  </a:moveTo>
                  <a:lnTo>
                    <a:pt x="35265" y="49092"/>
                  </a:lnTo>
                  <a:lnTo>
                    <a:pt x="74902" y="49092"/>
                  </a:lnTo>
                  <a:lnTo>
                    <a:pt x="74902" y="73980"/>
                  </a:lnTo>
                  <a:lnTo>
                    <a:pt x="35265" y="73980"/>
                  </a:lnTo>
                  <a:lnTo>
                    <a:pt x="35265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90572" y="6690"/>
                  </a:lnTo>
                  <a:lnTo>
                    <a:pt x="90572" y="31578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="" xmlns:a16="http://schemas.microsoft.com/office/drawing/2014/main" id="{9D336311-6BFF-4693-BD08-84DA11B82EB0}"/>
                </a:ext>
              </a:extLst>
            </p:cNvPr>
            <p:cNvSpPr/>
            <p:nvPr/>
          </p:nvSpPr>
          <p:spPr bwMode="gray">
            <a:xfrm>
              <a:off x="1017401" y="545210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0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0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="" xmlns:a16="http://schemas.microsoft.com/office/drawing/2014/main" id="{2A374289-F7A5-48DD-8279-D3CE58E624A2}"/>
                </a:ext>
              </a:extLst>
            </p:cNvPr>
            <p:cNvSpPr/>
            <p:nvPr/>
          </p:nvSpPr>
          <p:spPr bwMode="gray">
            <a:xfrm>
              <a:off x="1127092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1494 w 92177"/>
                <a:gd name="connsiteY1" fmla="*/ 119147 h 119830"/>
                <a:gd name="connsiteX2" fmla="*/ 91494 w 92177"/>
                <a:gd name="connsiteY2" fmla="*/ 94259 h 119830"/>
                <a:gd name="connsiteX3" fmla="*/ 34344 w 92177"/>
                <a:gd name="connsiteY3" fmla="*/ 94259 h 119830"/>
                <a:gd name="connsiteX4" fmla="*/ 34344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4344 w 92177"/>
                <a:gd name="connsiteY7" fmla="*/ 48170 h 119830"/>
                <a:gd name="connsiteX8" fmla="*/ 34344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1494" y="119147"/>
                  </a:lnTo>
                  <a:lnTo>
                    <a:pt x="91494" y="94259"/>
                  </a:lnTo>
                  <a:lnTo>
                    <a:pt x="34344" y="94259"/>
                  </a:lnTo>
                  <a:lnTo>
                    <a:pt x="34344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4344" y="48170"/>
                  </a:lnTo>
                  <a:lnTo>
                    <a:pt x="34344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="" xmlns:a16="http://schemas.microsoft.com/office/drawing/2014/main" id="{219F9DB2-8D27-42E9-B785-FA032F9CCB28}"/>
                </a:ext>
              </a:extLst>
            </p:cNvPr>
            <p:cNvSpPr/>
            <p:nvPr/>
          </p:nvSpPr>
          <p:spPr bwMode="gray">
            <a:xfrm>
              <a:off x="1217426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89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0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89" y="111773"/>
                    <a:pt x="99789" y="87807"/>
                  </a:cubicBezTo>
                  <a:cubicBezTo>
                    <a:pt x="99789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0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="" xmlns:a16="http://schemas.microsoft.com/office/drawing/2014/main" id="{F1C99E8B-FE03-48A1-8649-B3AC31BB7ECC}"/>
                </a:ext>
              </a:extLst>
            </p:cNvPr>
            <p:cNvSpPr/>
            <p:nvPr/>
          </p:nvSpPr>
          <p:spPr bwMode="gray">
            <a:xfrm>
              <a:off x="1325273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2415 w 92177"/>
                <a:gd name="connsiteY1" fmla="*/ 119147 h 119830"/>
                <a:gd name="connsiteX2" fmla="*/ 92415 w 92177"/>
                <a:gd name="connsiteY2" fmla="*/ 94259 h 119830"/>
                <a:gd name="connsiteX3" fmla="*/ 35265 w 92177"/>
                <a:gd name="connsiteY3" fmla="*/ 94259 h 119830"/>
                <a:gd name="connsiteX4" fmla="*/ 35265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8728 w 92177"/>
                <a:gd name="connsiteY9" fmla="*/ 31578 h 119830"/>
                <a:gd name="connsiteX10" fmla="*/ 88728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2415" y="119147"/>
                  </a:lnTo>
                  <a:lnTo>
                    <a:pt x="92415" y="94259"/>
                  </a:lnTo>
                  <a:lnTo>
                    <a:pt x="35265" y="94259"/>
                  </a:lnTo>
                  <a:lnTo>
                    <a:pt x="35265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8728" y="31578"/>
                  </a:lnTo>
                  <a:lnTo>
                    <a:pt x="88728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="" xmlns:a16="http://schemas.microsoft.com/office/drawing/2014/main" id="{17D8DC28-A981-486C-A529-BFD3D14E79E8}"/>
                </a:ext>
              </a:extLst>
            </p:cNvPr>
            <p:cNvSpPr/>
            <p:nvPr/>
          </p:nvSpPr>
          <p:spPr bwMode="gray">
            <a:xfrm>
              <a:off x="1424825" y="545210"/>
              <a:ext cx="101395" cy="119831"/>
            </a:xfrm>
            <a:custGeom>
              <a:avLst/>
              <a:gdLst>
                <a:gd name="connsiteX0" fmla="*/ 79510 w 101395"/>
                <a:gd name="connsiteY0" fmla="*/ 119147 h 119830"/>
                <a:gd name="connsiteX1" fmla="*/ 103477 w 101395"/>
                <a:gd name="connsiteY1" fmla="*/ 119147 h 119830"/>
                <a:gd name="connsiteX2" fmla="*/ 103477 w 101395"/>
                <a:gd name="connsiteY2" fmla="*/ 6690 h 119830"/>
                <a:gd name="connsiteX3" fmla="*/ 75823 w 101395"/>
                <a:gd name="connsiteY3" fmla="*/ 6690 h 119830"/>
                <a:gd name="connsiteX4" fmla="*/ 75823 w 101395"/>
                <a:gd name="connsiteY4" fmla="*/ 67527 h 119830"/>
                <a:gd name="connsiteX5" fmla="*/ 31578 w 101395"/>
                <a:gd name="connsiteY5" fmla="*/ 6690 h 119830"/>
                <a:gd name="connsiteX6" fmla="*/ 6690 w 101395"/>
                <a:gd name="connsiteY6" fmla="*/ 6690 h 119830"/>
                <a:gd name="connsiteX7" fmla="*/ 6690 w 101395"/>
                <a:gd name="connsiteY7" fmla="*/ 119147 h 119830"/>
                <a:gd name="connsiteX8" fmla="*/ 33422 w 101395"/>
                <a:gd name="connsiteY8" fmla="*/ 119147 h 119830"/>
                <a:gd name="connsiteX9" fmla="*/ 33422 w 101395"/>
                <a:gd name="connsiteY9" fmla="*/ 54623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395" h="119830">
                  <a:moveTo>
                    <a:pt x="79510" y="119147"/>
                  </a:moveTo>
                  <a:lnTo>
                    <a:pt x="103477" y="119147"/>
                  </a:lnTo>
                  <a:lnTo>
                    <a:pt x="103477" y="6690"/>
                  </a:lnTo>
                  <a:lnTo>
                    <a:pt x="75823" y="6690"/>
                  </a:lnTo>
                  <a:lnTo>
                    <a:pt x="75823" y="67527"/>
                  </a:lnTo>
                  <a:lnTo>
                    <a:pt x="31578" y="6690"/>
                  </a:lnTo>
                  <a:lnTo>
                    <a:pt x="6690" y="6690"/>
                  </a:lnTo>
                  <a:lnTo>
                    <a:pt x="6690" y="119147"/>
                  </a:lnTo>
                  <a:lnTo>
                    <a:pt x="33422" y="119147"/>
                  </a:lnTo>
                  <a:lnTo>
                    <a:pt x="33422" y="54623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="" xmlns:a16="http://schemas.microsoft.com/office/drawing/2014/main" id="{0403805B-0B60-48DD-BCDF-E91F3EFF338A}"/>
                </a:ext>
              </a:extLst>
            </p:cNvPr>
            <p:cNvSpPr/>
            <p:nvPr/>
          </p:nvSpPr>
          <p:spPr bwMode="gray">
            <a:xfrm>
              <a:off x="1541890" y="545210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20069 h 119830"/>
                <a:gd name="connsiteX3" fmla="*/ 6690 w 36870"/>
                <a:gd name="connsiteY3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20069"/>
                  </a:lnTo>
                  <a:lnTo>
                    <a:pt x="6690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="" xmlns:a16="http://schemas.microsoft.com/office/drawing/2014/main" id="{372AF66B-B846-4D34-8AB3-4C720A29EB65}"/>
                </a:ext>
              </a:extLst>
            </p:cNvPr>
            <p:cNvSpPr/>
            <p:nvPr/>
          </p:nvSpPr>
          <p:spPr bwMode="gray">
            <a:xfrm>
              <a:off x="1590713" y="544289"/>
              <a:ext cx="101395" cy="119831"/>
            </a:xfrm>
            <a:custGeom>
              <a:avLst/>
              <a:gdLst>
                <a:gd name="connsiteX0" fmla="*/ 53732 w 101395"/>
                <a:gd name="connsiteY0" fmla="*/ 121912 h 119830"/>
                <a:gd name="connsiteX1" fmla="*/ 102586 w 101395"/>
                <a:gd name="connsiteY1" fmla="*/ 71215 h 119830"/>
                <a:gd name="connsiteX2" fmla="*/ 102586 w 101395"/>
                <a:gd name="connsiteY2" fmla="*/ 6690 h 119830"/>
                <a:gd name="connsiteX3" fmla="*/ 74011 w 101395"/>
                <a:gd name="connsiteY3" fmla="*/ 6690 h 119830"/>
                <a:gd name="connsiteX4" fmla="*/ 74011 w 101395"/>
                <a:gd name="connsiteY4" fmla="*/ 71215 h 119830"/>
                <a:gd name="connsiteX5" fmla="*/ 54654 w 101395"/>
                <a:gd name="connsiteY5" fmla="*/ 96102 h 119830"/>
                <a:gd name="connsiteX6" fmla="*/ 35297 w 101395"/>
                <a:gd name="connsiteY6" fmla="*/ 71215 h 119830"/>
                <a:gd name="connsiteX7" fmla="*/ 35297 w 101395"/>
                <a:gd name="connsiteY7" fmla="*/ 6690 h 119830"/>
                <a:gd name="connsiteX8" fmla="*/ 6722 w 101395"/>
                <a:gd name="connsiteY8" fmla="*/ 6690 h 119830"/>
                <a:gd name="connsiteX9" fmla="*/ 6722 w 101395"/>
                <a:gd name="connsiteY9" fmla="*/ 71215 h 119830"/>
                <a:gd name="connsiteX10" fmla="*/ 53732 w 101395"/>
                <a:gd name="connsiteY10" fmla="*/ 121912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19830">
                  <a:moveTo>
                    <a:pt x="53732" y="121912"/>
                  </a:moveTo>
                  <a:cubicBezTo>
                    <a:pt x="82307" y="121912"/>
                    <a:pt x="102586" y="106242"/>
                    <a:pt x="102586" y="71215"/>
                  </a:cubicBezTo>
                  <a:lnTo>
                    <a:pt x="102586" y="6690"/>
                  </a:lnTo>
                  <a:lnTo>
                    <a:pt x="74011" y="6690"/>
                  </a:lnTo>
                  <a:lnTo>
                    <a:pt x="74011" y="71215"/>
                  </a:lnTo>
                  <a:cubicBezTo>
                    <a:pt x="74011" y="86885"/>
                    <a:pt x="67559" y="96102"/>
                    <a:pt x="54654" y="96102"/>
                  </a:cubicBezTo>
                  <a:cubicBezTo>
                    <a:pt x="41749" y="96102"/>
                    <a:pt x="35297" y="86885"/>
                    <a:pt x="35297" y="71215"/>
                  </a:cubicBezTo>
                  <a:lnTo>
                    <a:pt x="35297" y="6690"/>
                  </a:lnTo>
                  <a:lnTo>
                    <a:pt x="6722" y="6690"/>
                  </a:lnTo>
                  <a:lnTo>
                    <a:pt x="6722" y="71215"/>
                  </a:lnTo>
                  <a:cubicBezTo>
                    <a:pt x="5800" y="106242"/>
                    <a:pt x="25157" y="121912"/>
                    <a:pt x="53732" y="121912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32" name="Gerader Verbinder 31">
            <a:extLst>
              <a:ext uri="{FF2B5EF4-FFF2-40B4-BE49-F238E27FC236}">
                <a16:creationId xmlns="" xmlns:a16="http://schemas.microsoft.com/office/drawing/2014/main" id="{117B9F1D-5C66-4E41-9959-FEE0308BEB8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6530344"/>
            <a:ext cx="528638" cy="0"/>
          </a:xfrm>
          <a:prstGeom prst="line">
            <a:avLst/>
          </a:prstGeom>
          <a:noFill/>
          <a:ln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3" name="Rechteck 32">
            <a:extLst>
              <a:ext uri="{FF2B5EF4-FFF2-40B4-BE49-F238E27FC236}">
                <a16:creationId xmlns="" xmlns:a16="http://schemas.microsoft.com/office/drawing/2014/main" id="{EA5193CA-CA4C-4CF1-A68D-28DE00424F6D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300038" y="384187"/>
            <a:ext cx="216000" cy="20475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6000" b="1" noProof="0" dirty="0">
              <a:solidFill>
                <a:schemeClr val="bg1"/>
              </a:solidFill>
              <a:latin typeface="Verdana" pitchFamily="34" charset="0"/>
              <a:ea typeface="Verdana" pitchFamily="34" charset="0"/>
            </a:endParaRPr>
          </a:p>
        </p:txBody>
      </p:sp>
    </p:spTree>
    <p:custDataLst>
      <p:tags r:id="rId25"/>
    </p:custDataLst>
    <p:extLst>
      <p:ext uri="{BB962C8B-B14F-4D97-AF65-F5344CB8AC3E}">
        <p14:creationId xmlns:p14="http://schemas.microsoft.com/office/powerpoint/2010/main" val="2759239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61" r:id="rId2"/>
    <p:sldLayoutId id="2147483692" r:id="rId3"/>
    <p:sldLayoutId id="2147483662" r:id="rId4"/>
    <p:sldLayoutId id="2147483650" r:id="rId5"/>
    <p:sldLayoutId id="2147483693" r:id="rId6"/>
    <p:sldLayoutId id="2147483652" r:id="rId7"/>
    <p:sldLayoutId id="2147483663" r:id="rId8"/>
    <p:sldLayoutId id="2147483664" r:id="rId9"/>
    <p:sldLayoutId id="2147483666" r:id="rId10"/>
    <p:sldLayoutId id="2147483667" r:id="rId11"/>
    <p:sldLayoutId id="2147483654" r:id="rId12"/>
    <p:sldLayoutId id="2147483665" r:id="rId13"/>
    <p:sldLayoutId id="2147483668" r:id="rId14"/>
    <p:sldLayoutId id="2147483669" r:id="rId15"/>
    <p:sldLayoutId id="2147483670" r:id="rId16"/>
    <p:sldLayoutId id="2147483671" r:id="rId17"/>
    <p:sldLayoutId id="2147483655" r:id="rId18"/>
    <p:sldLayoutId id="2147483698" r:id="rId19"/>
    <p:sldLayoutId id="2147483699" r:id="rId20"/>
    <p:sldLayoutId id="2147483701" r:id="rId21"/>
    <p:sldLayoutId id="2147483702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03200" indent="-2032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09575" indent="-2000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Verdana" panose="020B060403050404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88963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Verdana" panose="020B060403050404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2400" indent="-172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52400" indent="-172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752400" indent="-172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752400" indent="-172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752400" indent="-172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Verdana" panose="020B060403050404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370" userDrawn="1">
          <p15:clr>
            <a:srgbClr val="F26B43"/>
          </p15:clr>
        </p15:guide>
        <p15:guide id="2" pos="7310" userDrawn="1">
          <p15:clr>
            <a:srgbClr val="F26B43"/>
          </p15:clr>
        </p15:guide>
        <p15:guide id="3" orient="horz" pos="1117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emf"/><Relationship Id="rId10" Type="http://schemas.openxmlformats.org/officeDocument/2006/relationships/image" Target="../media/image42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isn.org/881#recommendations-for-the-novel-coronavirus-2019-epidemic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theisn.org/881#recommendations-for-the-novel-coronavirus-2019-epidemic" TargetMode="Externa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.png"/><Relationship Id="rId4" Type="http://schemas.openxmlformats.org/officeDocument/2006/relationships/image" Target="../media/image2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garantf1://70520566.0/" TargetMode="External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62.xml"/><Relationship Id="rId7" Type="http://schemas.openxmlformats.org/officeDocument/2006/relationships/image" Target="../media/image25.jpg"/><Relationship Id="rId2" Type="http://schemas.openxmlformats.org/officeDocument/2006/relationships/tags" Target="../tags/tag61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3.xml"/><Relationship Id="rId9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0" y="0"/>
            <a:ext cx="7326775" cy="5461200"/>
          </a:xfrm>
        </p:spPr>
        <p:txBody>
          <a:bodyPr/>
          <a:lstStyle/>
          <a:p>
            <a:r>
              <a:rPr lang="ru-RU" sz="3600" b="0" dirty="0" smtClean="0"/>
              <a:t>Организация </a:t>
            </a:r>
            <a:r>
              <a:rPr lang="ru-RU" sz="3600" b="0" dirty="0" err="1"/>
              <a:t>гемодиализной</a:t>
            </a:r>
            <a:r>
              <a:rPr lang="ru-RU" sz="3600" b="0" dirty="0"/>
              <a:t> помощи </a:t>
            </a:r>
            <a:r>
              <a:rPr lang="en-US" sz="3600" b="0" dirty="0" smtClean="0"/>
              <a:t> </a:t>
            </a:r>
            <a:r>
              <a:rPr lang="ru-RU" sz="3600" b="0" dirty="0" smtClean="0"/>
              <a:t>в </a:t>
            </a:r>
            <a:r>
              <a:rPr lang="ru-RU" sz="3600" b="0" dirty="0"/>
              <a:t>условиях </a:t>
            </a:r>
            <a:r>
              <a:rPr lang="ru-RU" sz="3600" b="0" dirty="0" smtClean="0"/>
              <a:t>пандемии COVID-19</a:t>
            </a:r>
            <a:br>
              <a:rPr lang="ru-RU" sz="3600" b="0" dirty="0" smtClean="0"/>
            </a:br>
            <a:r>
              <a:rPr lang="ru-RU" sz="3600" b="0" dirty="0"/>
              <a:t/>
            </a:r>
            <a:br>
              <a:rPr lang="ru-RU" sz="3600" b="0" dirty="0"/>
            </a:br>
            <a:endParaRPr lang="ru-RU" sz="3600" b="0" dirty="0"/>
          </a:p>
        </p:txBody>
      </p:sp>
      <p:sp>
        <p:nvSpPr>
          <p:cNvPr id="2" name="TextBox 1"/>
          <p:cNvSpPr txBox="1"/>
          <p:nvPr/>
        </p:nvSpPr>
        <p:spPr bwMode="gray">
          <a:xfrm>
            <a:off x="5619509" y="1365813"/>
            <a:ext cx="52317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endParaRPr lang="ru-RU" sz="1600" dirty="0" err="1" smtClean="0"/>
          </a:p>
        </p:txBody>
      </p:sp>
      <p:sp>
        <p:nvSpPr>
          <p:cNvPr id="3" name="TextBox 2"/>
          <p:cNvSpPr txBox="1"/>
          <p:nvPr/>
        </p:nvSpPr>
        <p:spPr bwMode="gray">
          <a:xfrm>
            <a:off x="2783710" y="76811"/>
            <a:ext cx="8929869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dirty="0"/>
              <a:t>ВСЕРОССИЙСКИЙ ВЕБИНАР АССОЦИАЦИИ </a:t>
            </a:r>
            <a:r>
              <a:rPr lang="ru-RU" sz="2000" dirty="0" smtClean="0"/>
              <a:t>НЕФРОЛОГОВ «НЕ</a:t>
            </a:r>
            <a:r>
              <a:rPr lang="ru-RU" sz="2000" dirty="0"/>
              <a:t>Ф</a:t>
            </a:r>
            <a:r>
              <a:rPr lang="ru-RU" sz="2000" dirty="0" smtClean="0"/>
              <a:t>РОЛОГИЯ </a:t>
            </a:r>
            <a:r>
              <a:rPr lang="ru-RU" sz="2000" dirty="0"/>
              <a:t>В УСЛОВИЯХ ПАНДЕМИИ COVID-19</a:t>
            </a:r>
            <a:r>
              <a:rPr lang="ru-RU" sz="2000" dirty="0" smtClean="0"/>
              <a:t>» </a:t>
            </a:r>
          </a:p>
          <a:p>
            <a:r>
              <a:rPr lang="ru-RU" sz="2000" dirty="0" smtClean="0"/>
              <a:t>29 апреля 2020 г.</a:t>
            </a:r>
            <a:endParaRPr lang="ru-RU" sz="2000" dirty="0"/>
          </a:p>
          <a:p>
            <a:pPr algn="l"/>
            <a:endParaRPr lang="ru-RU" sz="2000" dirty="0" err="1" smtClean="0"/>
          </a:p>
        </p:txBody>
      </p:sp>
      <p:sp>
        <p:nvSpPr>
          <p:cNvPr id="4" name="TextBox 3"/>
          <p:cNvSpPr txBox="1"/>
          <p:nvPr/>
        </p:nvSpPr>
        <p:spPr bwMode="gray">
          <a:xfrm>
            <a:off x="746563" y="4191072"/>
            <a:ext cx="5075499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u-RU" sz="2000" dirty="0" err="1" smtClean="0"/>
              <a:t>К.Я.Гуревич</a:t>
            </a:r>
            <a:r>
              <a:rPr lang="ru-RU" sz="2000" dirty="0" smtClean="0"/>
              <a:t>, д.м.н., проф., </a:t>
            </a:r>
          </a:p>
          <a:p>
            <a:pPr algn="l"/>
            <a:r>
              <a:rPr lang="ru-RU" sz="2000" dirty="0" smtClean="0"/>
              <a:t>медицинский директор </a:t>
            </a:r>
            <a:r>
              <a:rPr lang="en-US" sz="2000" dirty="0" smtClean="0"/>
              <a:t>FMC</a:t>
            </a:r>
            <a:r>
              <a:rPr lang="ru-RU" sz="2000" dirty="0" smtClean="0"/>
              <a:t> в России</a:t>
            </a:r>
          </a:p>
          <a:p>
            <a:pPr algn="l"/>
            <a:r>
              <a:rPr lang="ru-RU" sz="2000" dirty="0" err="1" smtClean="0"/>
              <a:t>О.А.Кодюшева</a:t>
            </a:r>
            <a:r>
              <a:rPr lang="ru-RU" sz="2000" dirty="0" smtClean="0"/>
              <a:t>, </a:t>
            </a:r>
          </a:p>
          <a:p>
            <a:pPr algn="l"/>
            <a:r>
              <a:rPr lang="ru-RU" sz="2000" dirty="0" smtClean="0"/>
              <a:t>врач эпидемиолог </a:t>
            </a:r>
            <a:r>
              <a:rPr lang="en-US" sz="2000" dirty="0" smtClean="0"/>
              <a:t>FMC</a:t>
            </a:r>
            <a:r>
              <a:rPr lang="ru-RU" sz="2000" dirty="0" smtClean="0"/>
              <a:t> в России</a:t>
            </a:r>
          </a:p>
        </p:txBody>
      </p:sp>
      <p:sp>
        <p:nvSpPr>
          <p:cNvPr id="6" name="AutoShape 2" descr="Коронавирус, Вирус Короны, Covid-19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4" descr="Баннер клеток коронавируса Бесплатные векторы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6" descr="https://image.shutterstock.com/image-illustration/chinese-coronavirus-covid19-under-microscope-260nw-1643947495.jp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608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5212" y="1184055"/>
            <a:ext cx="4437527" cy="2919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9238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0001" y="301471"/>
            <a:ext cx="11017249" cy="412207"/>
          </a:xfrm>
        </p:spPr>
        <p:txBody>
          <a:bodyPr/>
          <a:lstStyle/>
          <a:p>
            <a:r>
              <a:rPr lang="ru-RU" sz="2000" dirty="0" err="1" smtClean="0"/>
              <a:t>Инфорация</a:t>
            </a:r>
            <a:r>
              <a:rPr lang="ru-RU" sz="2000" dirty="0" smtClean="0"/>
              <a:t> для больных</a:t>
            </a:r>
            <a:endParaRPr lang="ru-RU" sz="2000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US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792" y="1099789"/>
            <a:ext cx="3124200" cy="530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5539" y="1099789"/>
            <a:ext cx="3079750" cy="498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8181" y="219841"/>
            <a:ext cx="5096108" cy="6242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09755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B60B39EA-CF01-48FF-8125-660C7591B4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1961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4" name="think-cell Folie" r:id="rId4" imgW="470" imgH="469" progId="TCLayout.ActiveDocument.1">
                  <p:embed/>
                </p:oleObj>
              </mc:Choice>
              <mc:Fallback>
                <p:oleObj name="think-cell Foli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Box 35">
            <a:extLst>
              <a:ext uri="{FF2B5EF4-FFF2-40B4-BE49-F238E27FC236}">
                <a16:creationId xmlns:a16="http://schemas.microsoft.com/office/drawing/2014/main" xmlns="" id="{990EBF7F-A8DB-43D8-8951-5DAB20986E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22" y="775273"/>
            <a:ext cx="3579385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8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de-DE" sz="1600" b="1" dirty="0">
                <a:latin typeface="Arial" panose="020B0604020202020204" pitchFamily="34" charset="0"/>
              </a:rPr>
              <a:t>Зачем нужно носить маску</a:t>
            </a:r>
            <a:r>
              <a:rPr lang="ru-RU" altLang="de-DE" sz="1600" b="1" dirty="0" smtClean="0">
                <a:latin typeface="Arial" panose="020B0604020202020204" pitchFamily="34" charset="0"/>
              </a:rPr>
              <a:t>?</a:t>
            </a:r>
            <a:r>
              <a:rPr kumimoji="0" lang="en-GB" altLang="de-DE" sz="1600" b="1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rPr>
              <a:t> </a:t>
            </a:r>
            <a:endParaRPr kumimoji="0" lang="en-GB" altLang="de-DE" sz="1600" b="1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29" name="Control 36">
            <a:extLst>
              <a:ext uri="{FF2B5EF4-FFF2-40B4-BE49-F238E27FC236}">
                <a16:creationId xmlns:a16="http://schemas.microsoft.com/office/drawing/2014/main" xmlns="" id="{CBDC660B-0AA2-4BDE-B3DC-4DD3247EF061}"/>
              </a:ext>
            </a:extLst>
          </p:cNvPr>
          <p:cNvSpPr>
            <a:spLocks noChangeArrowheads="1" noChangeShapeType="1"/>
          </p:cNvSpPr>
          <p:nvPr/>
        </p:nvSpPr>
        <p:spPr bwMode="auto">
          <a:xfrm>
            <a:off x="275610" y="1233877"/>
            <a:ext cx="3791422" cy="3778713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noFill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ru-RU" altLang="de-DE" sz="1400" dirty="0">
                <a:solidFill>
                  <a:srgbClr val="000000"/>
                </a:solidFill>
                <a:latin typeface="Arial" panose="020B0604020202020204" pitchFamily="34" charset="0"/>
              </a:rPr>
              <a:t>Инфекции в основном передаются от человека к человеку через мелкие капли, выделяемые из носа или рта больного COVID‑19</a:t>
            </a:r>
            <a:r>
              <a:rPr lang="en-GB" altLang="de-DE" sz="1400" dirty="0" smtClean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  <a:r>
              <a:rPr lang="en-US" altLang="de-DE" sz="1400" dirty="0" smtClean="0">
                <a:solidFill>
                  <a:srgbClr val="FF0000"/>
                </a:solidFill>
                <a:latin typeface="Arial" panose="020B0604020202020204" pitchFamily="34" charset="0"/>
              </a:rPr>
              <a:t> </a:t>
            </a:r>
            <a:r>
              <a:rPr lang="ru-RU" altLang="de-DE" sz="1400" dirty="0">
                <a:latin typeface="Arial" panose="020B0604020202020204" pitchFamily="34" charset="0"/>
              </a:rPr>
              <a:t>В качестве физического барьера медицинские маски предназначены для предотвращения попадания этих капель на поверхность или </a:t>
            </a:r>
            <a:r>
              <a:rPr lang="ru-RU" altLang="de-DE" sz="1400" dirty="0" smtClean="0">
                <a:latin typeface="Arial" panose="020B0604020202020204" pitchFamily="34" charset="0"/>
              </a:rPr>
              <a:t>людей.</a:t>
            </a:r>
            <a:r>
              <a:rPr lang="ru-RU" altLang="de-DE" sz="1400" dirty="0">
                <a:latin typeface="Arial" panose="020B0604020202020204" pitchFamily="34" charset="0"/>
              </a:rPr>
              <a:t> </a:t>
            </a:r>
            <a:r>
              <a:rPr lang="ru-RU" altLang="de-DE" sz="1400" dirty="0" smtClean="0">
                <a:latin typeface="Arial" panose="020B0604020202020204" pitchFamily="34" charset="0"/>
              </a:rPr>
              <a:t>Этот </a:t>
            </a:r>
            <a:r>
              <a:rPr lang="ru-RU" altLang="de-DE" sz="1400" dirty="0">
                <a:latin typeface="Arial" panose="020B0604020202020204" pitchFamily="34" charset="0"/>
              </a:rPr>
              <a:t>физический барьер также может препятствовать попаданию капель в легкие. Для обеспечения защиты важно, чтобы Вы носили маску правильно</a:t>
            </a:r>
            <a:r>
              <a:rPr lang="ru-RU" altLang="de-DE" sz="1400" dirty="0" smtClean="0">
                <a:latin typeface="Arial" panose="020B0604020202020204" pitchFamily="34" charset="0"/>
              </a:rPr>
              <a:t>.</a:t>
            </a:r>
            <a:endParaRPr lang="en-US" altLang="de-DE" sz="1400" dirty="0" smtClean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ru-RU" altLang="de-DE" sz="1400" dirty="0">
                <a:latin typeface="Arial" panose="020B0604020202020204" pitchFamily="34" charset="0"/>
              </a:rPr>
              <a:t>Даже если основной части населения в настоящее время не рекомендуется носить маски, пациентам, проходящим лечение диализом, рекомендуется носить дополнительную защиту, когда они находятся в общественных местах</a:t>
            </a:r>
            <a:r>
              <a:rPr lang="ru-RU" altLang="de-DE" sz="1400" dirty="0" smtClean="0">
                <a:latin typeface="Arial" panose="020B0604020202020204" pitchFamily="34" charset="0"/>
              </a:rPr>
              <a:t>.</a:t>
            </a:r>
            <a:endParaRPr lang="en-US" altLang="de-DE" sz="1400" dirty="0">
              <a:latin typeface="Arial" panose="020B0604020202020204" pitchFamily="34" charset="0"/>
            </a:endParaRPr>
          </a:p>
        </p:txBody>
      </p:sp>
      <p:sp>
        <p:nvSpPr>
          <p:cNvPr id="30" name="Control 40">
            <a:extLst>
              <a:ext uri="{FF2B5EF4-FFF2-40B4-BE49-F238E27FC236}">
                <a16:creationId xmlns:a16="http://schemas.microsoft.com/office/drawing/2014/main" xmlns="" id="{2183CF62-8247-4FF2-9CFB-988F4F6C3F18}"/>
              </a:ext>
            </a:extLst>
          </p:cNvPr>
          <p:cNvSpPr>
            <a:spLocks noChangeArrowheads="1" noChangeShapeType="1"/>
          </p:cNvSpPr>
          <p:nvPr/>
        </p:nvSpPr>
        <p:spPr bwMode="auto">
          <a:xfrm>
            <a:off x="5872044" y="1373304"/>
            <a:ext cx="1996275" cy="5213878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noFill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1450" lvl="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r>
              <a:rPr lang="ru-RU" altLang="de-DE" sz="1200" dirty="0">
                <a:latin typeface="Arial" panose="020B0604020202020204" pitchFamily="34" charset="0"/>
              </a:rPr>
              <a:t>Продезинфицируйте </a:t>
            </a:r>
            <a:r>
              <a:rPr lang="ru-RU" altLang="de-DE" sz="1200" dirty="0" smtClean="0">
                <a:latin typeface="Arial" panose="020B0604020202020204" pitchFamily="34" charset="0"/>
              </a:rPr>
              <a:t>руки</a:t>
            </a:r>
          </a:p>
          <a:p>
            <a:pPr lvl="0" eaLnBrk="0" fontAlgn="base" hangingPunct="0">
              <a:spcBef>
                <a:spcPct val="0"/>
              </a:spcBef>
              <a:spcAft>
                <a:spcPts val="600"/>
              </a:spcAft>
              <a:buSzPts val="1000"/>
            </a:pPr>
            <a:endParaRPr lang="en-US" altLang="de-DE" sz="1200" dirty="0">
              <a:latin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r>
              <a:rPr lang="ru-RU" altLang="de-DE" sz="1200" dirty="0">
                <a:latin typeface="Arial" panose="020B0604020202020204" pitchFamily="34" charset="0"/>
              </a:rPr>
              <a:t>Возьмите маску и найдите носовой </a:t>
            </a:r>
            <a:r>
              <a:rPr lang="ru-RU" altLang="de-DE" sz="1200" dirty="0" smtClean="0">
                <a:latin typeface="Arial" panose="020B0604020202020204" pitchFamily="34" charset="0"/>
              </a:rPr>
              <a:t>фиксатор </a:t>
            </a:r>
            <a:endParaRPr lang="en-US" altLang="de-DE" sz="1200" dirty="0"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ts val="600"/>
              </a:spcAft>
              <a:buSzPts val="1000"/>
            </a:pPr>
            <a:endParaRPr lang="en-US" altLang="de-DE" sz="1200" dirty="0">
              <a:latin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r>
              <a:rPr lang="ru-RU" altLang="de-DE" sz="1200" dirty="0">
                <a:latin typeface="Arial" panose="020B0604020202020204" pitchFamily="34" charset="0"/>
              </a:rPr>
              <a:t>Держите маску за эластичные </a:t>
            </a:r>
            <a:r>
              <a:rPr lang="ru-RU" altLang="de-DE" sz="1200" dirty="0" smtClean="0">
                <a:latin typeface="Arial" panose="020B0604020202020204" pitchFamily="34" charset="0"/>
              </a:rPr>
              <a:t>резинки </a:t>
            </a:r>
            <a:r>
              <a:rPr lang="ru-RU" altLang="de-DE" sz="1200" dirty="0">
                <a:latin typeface="Arial" panose="020B0604020202020204" pitchFamily="34" charset="0"/>
              </a:rPr>
              <a:t>так, чтобы внутренняя сторона маски (белого цвета) была перед </a:t>
            </a:r>
            <a:r>
              <a:rPr lang="ru-RU" altLang="de-DE" sz="1200" dirty="0" smtClean="0">
                <a:latin typeface="Arial" panose="020B0604020202020204" pitchFamily="34" charset="0"/>
              </a:rPr>
              <a:t>Вами</a:t>
            </a:r>
          </a:p>
          <a:p>
            <a:pPr lvl="0" eaLnBrk="0" fontAlgn="base" hangingPunct="0">
              <a:spcBef>
                <a:spcPct val="0"/>
              </a:spcBef>
              <a:spcAft>
                <a:spcPts val="600"/>
              </a:spcAft>
              <a:buSzPts val="1000"/>
            </a:pPr>
            <a:endParaRPr lang="en-US" altLang="de-DE" sz="1200" dirty="0">
              <a:latin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r>
              <a:rPr lang="ru-RU" altLang="de-DE" sz="1200" dirty="0">
                <a:latin typeface="Arial" panose="020B0604020202020204" pitchFamily="34" charset="0"/>
              </a:rPr>
              <a:t>Закрепите резинки маски на </a:t>
            </a:r>
            <a:r>
              <a:rPr lang="ru-RU" altLang="de-DE" sz="1200" dirty="0" smtClean="0">
                <a:latin typeface="Arial" panose="020B0604020202020204" pitchFamily="34" charset="0"/>
              </a:rPr>
              <a:t>ушах</a:t>
            </a:r>
            <a:endParaRPr lang="en-US" altLang="de-DE" sz="1200" dirty="0"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ts val="600"/>
              </a:spcAft>
              <a:buSzPts val="1000"/>
            </a:pPr>
            <a:endParaRPr lang="en-US" altLang="de-DE" sz="1200" dirty="0">
              <a:latin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r>
              <a:rPr lang="ru-RU" altLang="de-DE" sz="1200" dirty="0">
                <a:latin typeface="Arial" panose="020B0604020202020204" pitchFamily="34" charset="0"/>
              </a:rPr>
              <a:t>Одной рукой расположите носовой фиксатор поперек </a:t>
            </a:r>
            <a:r>
              <a:rPr lang="ru-RU" altLang="de-DE" sz="1200" dirty="0" smtClean="0">
                <a:latin typeface="Arial" panose="020B0604020202020204" pitchFamily="34" charset="0"/>
              </a:rPr>
              <a:t>носа, а затем </a:t>
            </a:r>
            <a:r>
              <a:rPr lang="ru-RU" altLang="de-DE" sz="1200" dirty="0">
                <a:latin typeface="Arial" panose="020B0604020202020204" pitchFamily="34" charset="0"/>
              </a:rPr>
              <a:t>отрегулируйте верхнюю и нижнюю часть </a:t>
            </a:r>
            <a:r>
              <a:rPr lang="ru-RU" altLang="de-DE" sz="1200" dirty="0" smtClean="0">
                <a:latin typeface="Arial" panose="020B0604020202020204" pitchFamily="34" charset="0"/>
              </a:rPr>
              <a:t>маски</a:t>
            </a:r>
            <a:endParaRPr lang="en-US" altLang="de-DE" sz="1200" dirty="0">
              <a:latin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endParaRPr lang="en-US" altLang="de-DE" sz="1200" dirty="0">
              <a:latin typeface="Arial" panose="020B0604020202020204" pitchFamily="34" charset="0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r>
              <a:rPr lang="ru-RU" altLang="de-DE" sz="1200" dirty="0" smtClean="0">
                <a:latin typeface="Arial" panose="020B0604020202020204" pitchFamily="34" charset="0"/>
              </a:rPr>
              <a:t>Снова </a:t>
            </a:r>
            <a:r>
              <a:rPr lang="ru-RU" altLang="de-DE" sz="1200" dirty="0">
                <a:latin typeface="Arial" panose="020B0604020202020204" pitchFamily="34" charset="0"/>
              </a:rPr>
              <a:t>продезинфицируйте </a:t>
            </a:r>
            <a:r>
              <a:rPr lang="ru-RU" altLang="de-DE" sz="1200" dirty="0" smtClean="0">
                <a:latin typeface="Arial" panose="020B0604020202020204" pitchFamily="34" charset="0"/>
              </a:rPr>
              <a:t>руки </a:t>
            </a:r>
            <a:endParaRPr lang="en-US" altLang="de-DE" sz="1200" dirty="0">
              <a:latin typeface="Arial" panose="020B0604020202020204" pitchFamily="34" charset="0"/>
            </a:endParaRPr>
          </a:p>
        </p:txBody>
      </p:sp>
      <p:sp>
        <p:nvSpPr>
          <p:cNvPr id="1027" name="Rectangle 48">
            <a:extLst>
              <a:ext uri="{FF2B5EF4-FFF2-40B4-BE49-F238E27FC236}">
                <a16:creationId xmlns:a16="http://schemas.microsoft.com/office/drawing/2014/main" xmlns="" id="{DECBA675-596B-418B-B241-DFFCAEF972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4969" y="5769223"/>
            <a:ext cx="4067031" cy="1088776"/>
          </a:xfrm>
          <a:prstGeom prst="rect">
            <a:avLst/>
          </a:prstGeom>
          <a:solidFill>
            <a:srgbClr val="4389B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0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de-DE" sz="14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48">
            <a:extLst>
              <a:ext uri="{FF2B5EF4-FFF2-40B4-BE49-F238E27FC236}">
                <a16:creationId xmlns:a16="http://schemas.microsoft.com/office/drawing/2014/main" xmlns="" id="{E6C7B923-629E-4A7F-B101-9281D3EAD1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053534"/>
            <a:ext cx="4067031" cy="1804466"/>
          </a:xfrm>
          <a:prstGeom prst="rect">
            <a:avLst/>
          </a:prstGeom>
          <a:solidFill>
            <a:srgbClr val="4389B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0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de-DE" sz="14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9" name="Control 49">
            <a:extLst>
              <a:ext uri="{FF2B5EF4-FFF2-40B4-BE49-F238E27FC236}">
                <a16:creationId xmlns:a16="http://schemas.microsoft.com/office/drawing/2014/main" xmlns="" id="{5E382ED6-291B-4311-A8B4-B5972F275C57}"/>
              </a:ext>
            </a:extLst>
          </p:cNvPr>
          <p:cNvSpPr>
            <a:spLocks noChangeArrowheads="1" noChangeShapeType="1"/>
          </p:cNvSpPr>
          <p:nvPr/>
        </p:nvSpPr>
        <p:spPr bwMode="auto">
          <a:xfrm>
            <a:off x="285428" y="5274519"/>
            <a:ext cx="3604184" cy="1150814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noFill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ru-RU" altLang="de-DE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alt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сти сотрудники нашей клиники предоставят Вам маску и покажут, как правильно ее использовать. Пожалуйста, внимательно следите за предоставленным Вам </a:t>
            </a:r>
            <a:r>
              <a:rPr lang="ru-RU" altLang="de-DE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ством защиты </a:t>
            </a:r>
            <a:r>
              <a:rPr lang="ru-RU" alt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следуйте инструкциям сотрудников клиники</a:t>
            </a:r>
            <a:r>
              <a:rPr lang="ru-RU" altLang="de-DE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en-GB" altLang="de-DE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en-GB" altLang="de-DE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5">
            <a:extLst>
              <a:ext uri="{FF2B5EF4-FFF2-40B4-BE49-F238E27FC236}">
                <a16:creationId xmlns:a16="http://schemas.microsoft.com/office/drawing/2014/main" xmlns="" id="{5059BD65-2617-401B-8D9A-426F7D1095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88934" y="712509"/>
            <a:ext cx="3579385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8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de-DE" sz="1600" b="1" dirty="0" smtClean="0">
                <a:latin typeface="Arial" panose="020B0604020202020204" pitchFamily="34" charset="0"/>
              </a:rPr>
              <a:t>Как надевать </a:t>
            </a:r>
            <a:r>
              <a:rPr lang="ru-RU" altLang="de-DE" sz="1600" b="1" dirty="0">
                <a:latin typeface="Arial" panose="020B0604020202020204" pitchFamily="34" charset="0"/>
              </a:rPr>
              <a:t>медицинскую </a:t>
            </a:r>
            <a:r>
              <a:rPr lang="ru-RU" altLang="de-DE" sz="1600" b="1" dirty="0" smtClean="0">
                <a:latin typeface="Arial" panose="020B0604020202020204" pitchFamily="34" charset="0"/>
              </a:rPr>
              <a:t>маску</a:t>
            </a:r>
            <a:r>
              <a:rPr lang="en-GB" altLang="de-DE" sz="1600" b="1" dirty="0" smtClean="0">
                <a:latin typeface="Arial" panose="020B0604020202020204" pitchFamily="34" charset="0"/>
              </a:rPr>
              <a:t>:</a:t>
            </a:r>
            <a:endParaRPr lang="en-GB" altLang="de-DE" sz="1600" b="1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altLang="de-DE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sp>
        <p:nvSpPr>
          <p:cNvPr id="19" name="Control 40">
            <a:extLst>
              <a:ext uri="{FF2B5EF4-FFF2-40B4-BE49-F238E27FC236}">
                <a16:creationId xmlns:a16="http://schemas.microsoft.com/office/drawing/2014/main" xmlns="" id="{FC7C515C-B37F-4A95-A8F5-C75ABCBB1AFE}"/>
              </a:ext>
            </a:extLst>
          </p:cNvPr>
          <p:cNvSpPr>
            <a:spLocks noChangeArrowheads="1" noChangeShapeType="1"/>
          </p:cNvSpPr>
          <p:nvPr/>
        </p:nvSpPr>
        <p:spPr bwMode="auto">
          <a:xfrm>
            <a:off x="9951901" y="1406126"/>
            <a:ext cx="1996275" cy="4021183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noFill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145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r>
              <a:rPr lang="ru-RU" altLang="de-DE" sz="1400" dirty="0">
                <a:latin typeface="Arial" panose="020B0604020202020204" pitchFamily="34" charset="0"/>
              </a:rPr>
              <a:t>Продезинфицируйте </a:t>
            </a:r>
            <a:r>
              <a:rPr lang="ru-RU" altLang="de-DE" sz="1400" dirty="0" smtClean="0">
                <a:latin typeface="Arial" panose="020B0604020202020204" pitchFamily="34" charset="0"/>
              </a:rPr>
              <a:t>руки</a:t>
            </a:r>
            <a:endParaRPr lang="en-US" altLang="de-DE" sz="1400" dirty="0" smtClean="0"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ts val="600"/>
              </a:spcAft>
              <a:buSzPts val="1000"/>
            </a:pPr>
            <a:endParaRPr lang="en-US" altLang="de-DE" sz="1400" dirty="0" smtClean="0">
              <a:latin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r>
              <a:rPr lang="ru-RU" altLang="de-DE" sz="1400" dirty="0">
                <a:latin typeface="Arial" panose="020B0604020202020204" pitchFamily="34" charset="0"/>
              </a:rPr>
              <a:t>Снимите резинки маски с </a:t>
            </a:r>
            <a:r>
              <a:rPr lang="ru-RU" altLang="de-DE" sz="1400" dirty="0" smtClean="0">
                <a:latin typeface="Arial" panose="020B0604020202020204" pitchFamily="34" charset="0"/>
              </a:rPr>
              <a:t>ушей </a:t>
            </a:r>
            <a:endParaRPr lang="en-US" altLang="de-DE" sz="1400" dirty="0"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ts val="600"/>
              </a:spcAft>
              <a:buSzPts val="1000"/>
            </a:pPr>
            <a:endParaRPr lang="en-US" altLang="de-DE" sz="1400" dirty="0">
              <a:latin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r>
              <a:rPr lang="ru-RU" altLang="de-DE" sz="1400" dirty="0">
                <a:latin typeface="Arial" panose="020B0604020202020204" pitchFamily="34" charset="0"/>
              </a:rPr>
              <a:t>Снимите маску с </a:t>
            </a:r>
            <a:r>
              <a:rPr lang="ru-RU" altLang="de-DE" sz="1400" dirty="0" smtClean="0">
                <a:latin typeface="Arial" panose="020B0604020202020204" pitchFamily="34" charset="0"/>
              </a:rPr>
              <a:t>лица </a:t>
            </a:r>
            <a:endParaRPr lang="en-US" altLang="de-DE" sz="1400" dirty="0"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ts val="600"/>
              </a:spcAft>
              <a:buSzPts val="1000"/>
            </a:pPr>
            <a:endParaRPr lang="en-US" altLang="de-DE" sz="1400" dirty="0">
              <a:latin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r>
              <a:rPr lang="ru-RU" altLang="de-DE" sz="1400" dirty="0">
                <a:latin typeface="Arial" panose="020B0604020202020204" pitchFamily="34" charset="0"/>
              </a:rPr>
              <a:t>Выбросьте маску </a:t>
            </a:r>
            <a:r>
              <a:rPr lang="ru-RU" altLang="de-DE" sz="1400" dirty="0" smtClean="0">
                <a:latin typeface="Arial" panose="020B0604020202020204" pitchFamily="34" charset="0"/>
              </a:rPr>
              <a:t>в мусорный контейнер </a:t>
            </a:r>
            <a:endParaRPr lang="en-US" altLang="de-DE" sz="1400" dirty="0">
              <a:latin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endParaRPr lang="en-US" altLang="de-DE" sz="1400" dirty="0">
              <a:latin typeface="Arial" panose="020B0604020202020204" pitchFamily="34" charset="0"/>
            </a:endParaRPr>
          </a:p>
          <a:p>
            <a:pPr marL="17145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r>
              <a:rPr lang="ru-RU" altLang="de-DE" sz="1400" dirty="0">
                <a:latin typeface="Arial" panose="020B0604020202020204" pitchFamily="34" charset="0"/>
              </a:rPr>
              <a:t>Снова продезинфицируйте руки </a:t>
            </a:r>
            <a:endParaRPr lang="en-US" altLang="de-DE" sz="1400" dirty="0">
              <a:latin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ts val="600"/>
              </a:spcAft>
              <a:buSzPts val="1000"/>
              <a:buFont typeface="Arial" panose="020B0604020202020204" pitchFamily="34" charset="0"/>
              <a:buChar char="•"/>
            </a:pPr>
            <a:endParaRPr lang="en-US" altLang="de-DE" sz="1400" dirty="0">
              <a:latin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xmlns="" id="{D9F505BA-9D99-4EA0-849E-3FD5E3FA0C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9874" y="1890301"/>
            <a:ext cx="1442386" cy="924606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xmlns="" id="{C6A614CB-21C2-4F5A-B369-A567726787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67170" y="2814907"/>
            <a:ext cx="1442386" cy="100201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xmlns="" id="{A53416CC-7233-42AC-B0A3-9A3B0EE734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59874" y="3816919"/>
            <a:ext cx="1442386" cy="98057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xmlns="" id="{E94E4EF1-342D-4CC7-8036-53C45CEAD3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67170" y="4779815"/>
            <a:ext cx="1447009" cy="98940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2B82F5C2-8D6D-41A9-B3FC-7FD8C49147C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91128" y="2011737"/>
            <a:ext cx="1357881" cy="96059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A9A3C61A-6718-47F3-A4FE-56BE664A12F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491917" y="2940855"/>
            <a:ext cx="1357092" cy="95172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026C46BD-524D-42C6-BF6B-B81EFA32D48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91503" y="3857230"/>
            <a:ext cx="1357092" cy="918556"/>
          </a:xfrm>
          <a:prstGeom prst="rect">
            <a:avLst/>
          </a:prstGeom>
        </p:spPr>
      </p:pic>
      <p:sp>
        <p:nvSpPr>
          <p:cNvPr id="32" name="Control 49">
            <a:extLst>
              <a:ext uri="{FF2B5EF4-FFF2-40B4-BE49-F238E27FC236}">
                <a16:creationId xmlns:a16="http://schemas.microsoft.com/office/drawing/2014/main" xmlns="" id="{23C62D68-56BE-4B80-BE7C-473872AE5070}"/>
              </a:ext>
            </a:extLst>
          </p:cNvPr>
          <p:cNvSpPr>
            <a:spLocks noChangeArrowheads="1" noChangeShapeType="1"/>
          </p:cNvSpPr>
          <p:nvPr/>
        </p:nvSpPr>
        <p:spPr bwMode="auto">
          <a:xfrm>
            <a:off x="8271647" y="5888710"/>
            <a:ext cx="3886541" cy="803531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noFill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ts val="600"/>
              </a:spcAft>
            </a:pPr>
            <a:r>
              <a:rPr lang="ru-RU" alt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 можете увидеть, что сотрудники клиники используют дополнительные защитные средства. Не </a:t>
            </a:r>
            <a:r>
              <a:rPr lang="ru-RU" altLang="de-DE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гайтесь: </a:t>
            </a:r>
            <a:r>
              <a:rPr lang="ru-RU" alt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необходимо в качестве профилактических мер</a:t>
            </a:r>
            <a:r>
              <a:rPr lang="ru-RU" altLang="de-DE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altLang="de-DE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GB" altLang="de-DE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5">
            <a:extLst>
              <a:ext uri="{FF2B5EF4-FFF2-40B4-BE49-F238E27FC236}">
                <a16:creationId xmlns:a16="http://schemas.microsoft.com/office/drawing/2014/main" xmlns="" id="{ACD99D10-D8FA-42E3-8541-062DABDFCA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8791" y="711992"/>
            <a:ext cx="3579385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80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de-DE" sz="1600" b="1" dirty="0" smtClean="0">
                <a:latin typeface="Arial" panose="020B0604020202020204" pitchFamily="34" charset="0"/>
              </a:rPr>
              <a:t>Как снимать </a:t>
            </a:r>
            <a:r>
              <a:rPr lang="ru-RU" altLang="de-DE" sz="1600" b="1" dirty="0">
                <a:latin typeface="Arial" panose="020B0604020202020204" pitchFamily="34" charset="0"/>
              </a:rPr>
              <a:t>медицинскую маску</a:t>
            </a:r>
            <a:r>
              <a:rPr lang="en-GB" altLang="de-DE" sz="1600" b="1" dirty="0" smtClean="0">
                <a:latin typeface="Arial" panose="020B0604020202020204" pitchFamily="34" charset="0"/>
              </a:rPr>
              <a:t>:</a:t>
            </a:r>
            <a:endParaRPr lang="en-GB" altLang="de-DE" sz="1600" b="1" dirty="0"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altLang="de-DE" sz="18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1A0BBB83-FD9A-4F00-96BE-ABB3A66BD348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5234" t="11159" b="12715"/>
          <a:stretch/>
        </p:blipFill>
        <p:spPr>
          <a:xfrm>
            <a:off x="4359875" y="1177267"/>
            <a:ext cx="1442385" cy="85861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xmlns="" id="{838D27A0-E7FF-425D-8D16-2A85BE6C6437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5234" t="11159" b="12715"/>
          <a:stretch/>
        </p:blipFill>
        <p:spPr>
          <a:xfrm>
            <a:off x="4397760" y="5771136"/>
            <a:ext cx="1442385" cy="858611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xmlns="" id="{A715FFC0-8DE9-43C5-9009-23638316A446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5234" t="11159" b="12715"/>
          <a:stretch/>
        </p:blipFill>
        <p:spPr>
          <a:xfrm>
            <a:off x="8491128" y="4767039"/>
            <a:ext cx="1357093" cy="807839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xmlns="" id="{CA49A9B4-0EA9-4D94-91B1-AC903B1DC84D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5234" t="11159" b="12715"/>
          <a:stretch/>
        </p:blipFill>
        <p:spPr>
          <a:xfrm>
            <a:off x="8508610" y="1203898"/>
            <a:ext cx="1357093" cy="807839"/>
          </a:xfrm>
          <a:prstGeom prst="rect">
            <a:avLst/>
          </a:prstGeom>
        </p:spPr>
      </p:pic>
      <p:sp>
        <p:nvSpPr>
          <p:cNvPr id="24" name="Заголовок 1"/>
          <p:cNvSpPr txBox="1">
            <a:spLocks/>
          </p:cNvSpPr>
          <p:nvPr/>
        </p:nvSpPr>
        <p:spPr bwMode="gray">
          <a:xfrm>
            <a:off x="670000" y="228988"/>
            <a:ext cx="11017249" cy="4122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 err="1" smtClean="0"/>
              <a:t>Инфорация</a:t>
            </a:r>
            <a:r>
              <a:rPr lang="ru-RU" sz="2000" dirty="0" smtClean="0"/>
              <a:t> для больных</a:t>
            </a:r>
            <a:endParaRPr lang="ru-RU" sz="2000" dirty="0"/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.Гуревич, О.Кодюшева </a:t>
            </a:r>
            <a:r>
              <a:rPr lang="de-DE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74455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Информация для лиц, сопровождающих больных</a:t>
            </a:r>
            <a:endParaRPr lang="ru-RU" sz="2000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US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sp>
        <p:nvSpPr>
          <p:cNvPr id="4" name="Прямоугольник 3"/>
          <p:cNvSpPr/>
          <p:nvPr/>
        </p:nvSpPr>
        <p:spPr>
          <a:xfrm>
            <a:off x="418170" y="989083"/>
            <a:ext cx="11296185" cy="42473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ru-RU" b="1" dirty="0"/>
              <a:t>Важная информация для лиц, осуществляющих уход за больными </a:t>
            </a:r>
            <a:endParaRPr lang="ru-RU" dirty="0"/>
          </a:p>
          <a:p>
            <a:r>
              <a:rPr lang="ru-RU" dirty="0"/>
              <a:t> </a:t>
            </a:r>
          </a:p>
          <a:p>
            <a:r>
              <a:rPr lang="ru-RU" dirty="0"/>
              <a:t> </a:t>
            </a:r>
          </a:p>
          <a:p>
            <a:r>
              <a:rPr lang="ru-RU" dirty="0"/>
              <a:t>Просим с пониманием отнестись к тому, что во время вспышки </a:t>
            </a:r>
            <a:r>
              <a:rPr lang="en-GB" dirty="0"/>
              <a:t>COVID</a:t>
            </a:r>
            <a:r>
              <a:rPr lang="ru-RU" dirty="0"/>
              <a:t>-19 мы должны ограничить вход членов семьи и лиц, ухаживающих за больными, в наш диализный центр.</a:t>
            </a:r>
          </a:p>
          <a:p>
            <a:r>
              <a:rPr lang="ru-RU" dirty="0"/>
              <a:t> </a:t>
            </a:r>
          </a:p>
          <a:p>
            <a:r>
              <a:rPr lang="ru-RU" dirty="0"/>
              <a:t>Если Вы сопровождаете члена семьи, пожалуйста, по возможности постарайтесь не заходить в диализный центр. Если Вам все-таки необходимо зайти в клинику, пожалуйста, следуйте указаниям врачей клиники. </a:t>
            </a:r>
          </a:p>
          <a:p>
            <a:r>
              <a:rPr lang="ru-RU" dirty="0"/>
              <a:t> </a:t>
            </a:r>
          </a:p>
          <a:p>
            <a:r>
              <a:rPr lang="ru-RU" dirty="0"/>
              <a:t>Вход в процедурный кабинет будет ограничен. </a:t>
            </a:r>
          </a:p>
          <a:p>
            <a:r>
              <a:rPr lang="ru-RU" dirty="0"/>
              <a:t> </a:t>
            </a:r>
          </a:p>
          <a:p>
            <a:r>
              <a:rPr lang="ru-RU" dirty="0"/>
              <a:t>Пожалуйста, имейте в виду, что если Вы сопровождаете члена семьи для оказания ему физической помощи, </a:t>
            </a:r>
            <a:r>
              <a:rPr lang="ru-RU" dirty="0" smtClean="0"/>
              <a:t>сотрудники </a:t>
            </a:r>
            <a:r>
              <a:rPr lang="ru-RU" dirty="0"/>
              <a:t>нашей клиники подготовлены и могут сами оказать всестороннюю </a:t>
            </a:r>
            <a:r>
              <a:rPr lang="ru-RU" dirty="0" smtClean="0"/>
              <a:t>помощь</a:t>
            </a:r>
            <a:r>
              <a:rPr lang="ru-RU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688531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919" y="2135699"/>
            <a:ext cx="7462043" cy="426101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7886" y="270841"/>
            <a:ext cx="11017249" cy="720081"/>
          </a:xfrm>
        </p:spPr>
        <p:txBody>
          <a:bodyPr/>
          <a:lstStyle/>
          <a:p>
            <a:r>
              <a:rPr lang="ru-RU" sz="2400" dirty="0" smtClean="0"/>
              <a:t>Международные Рекомендации </a:t>
            </a:r>
            <a:r>
              <a:rPr lang="ru-RU" sz="2400" dirty="0"/>
              <a:t>по </a:t>
            </a:r>
            <a:r>
              <a:rPr lang="en-US" sz="2400" dirty="0"/>
              <a:t>covid-19</a:t>
            </a:r>
            <a:endParaRPr lang="ru-RU" sz="2400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US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773" y="819161"/>
            <a:ext cx="6523464" cy="473744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4056" y="1660795"/>
            <a:ext cx="4060361" cy="4735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4300" y="1219200"/>
            <a:ext cx="43434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2438" y="882650"/>
            <a:ext cx="3105150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79260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5"/>
          </p:nvPr>
        </p:nvSpPr>
        <p:spPr>
          <a:xfrm>
            <a:off x="631449" y="6152685"/>
            <a:ext cx="11016000" cy="192139"/>
          </a:xfrm>
        </p:spPr>
        <p:txBody>
          <a:bodyPr/>
          <a:lstStyle/>
          <a:p>
            <a:r>
              <a:rPr lang="en-US" dirty="0" err="1" smtClean="0"/>
              <a:t>Naicker</a:t>
            </a:r>
            <a:r>
              <a:rPr lang="en-US" dirty="0" smtClean="0"/>
              <a:t> S, Yang C-W, </a:t>
            </a:r>
            <a:r>
              <a:rPr lang="en-US" dirty="0" err="1" smtClean="0"/>
              <a:t>Jha</a:t>
            </a:r>
            <a:r>
              <a:rPr lang="en-US" dirty="0" smtClean="0"/>
              <a:t> V. recommendations for the Novel Coronavirus 2019 Epidemic: Kidney Patients, Health Care Professionals and Family/Caregivers/ </a:t>
            </a:r>
            <a:r>
              <a:rPr lang="en-US" u="sng" dirty="0">
                <a:hlinkClick r:id="rId3"/>
              </a:rPr>
              <a:t>https://www.theisn.org/881#recommendations-for-the-novel-coronavirus-2019-epidemic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7283-F1A7-4916-B096-5163DBA927DA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комендации по </a:t>
            </a:r>
            <a:r>
              <a:rPr lang="en-US" dirty="0" smtClean="0"/>
              <a:t>covid-19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4"/>
          </p:nvPr>
        </p:nvSpPr>
        <p:spPr>
          <a:xfrm>
            <a:off x="576224" y="1371600"/>
            <a:ext cx="11017249" cy="4488366"/>
          </a:xfrm>
          <a:solidFill>
            <a:schemeClr val="accent5">
              <a:lumMod val="40000"/>
              <a:lumOff val="60000"/>
            </a:schemeClr>
          </a:solidFill>
        </p:spPr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На входе и в зонах ожидания следует </a:t>
            </a:r>
            <a:r>
              <a:rPr lang="ru-RU" sz="1200" dirty="0"/>
              <a:t>поместить </a:t>
            </a:r>
            <a:r>
              <a:rPr lang="ru-RU" sz="1200" dirty="0" smtClean="0"/>
              <a:t>постеры с описанием симптомов </a:t>
            </a:r>
            <a:r>
              <a:rPr lang="en-US" sz="1200" dirty="0" smtClean="0"/>
              <a:t>COVID-19</a:t>
            </a:r>
            <a:endParaRPr lang="ru-RU" sz="1200" dirty="0" smtClean="0"/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На </a:t>
            </a:r>
            <a:r>
              <a:rPr lang="ru-RU" sz="1200" dirty="0"/>
              <a:t>входе и в зонах ожидания следует поместить постеры с </a:t>
            </a:r>
            <a:r>
              <a:rPr lang="ru-RU" sz="1200" dirty="0" smtClean="0"/>
              <a:t>изображением и описанием гигиенических процедур (мытья и обработки рук, поведения при кашле и чихании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Диализная команда из врачей, медсестер и санитарок должна проходить тренинг по последним</a:t>
            </a:r>
            <a:r>
              <a:rPr lang="en-US" sz="1200" dirty="0" smtClean="0"/>
              <a:t> </a:t>
            </a:r>
            <a:r>
              <a:rPr lang="ru-RU" sz="1200" dirty="0" smtClean="0"/>
              <a:t>клиническим и эпидемиологическим данным,</a:t>
            </a:r>
            <a:r>
              <a:rPr lang="ru-RU" sz="1200" dirty="0"/>
              <a:t> </a:t>
            </a:r>
            <a:r>
              <a:rPr lang="ru-RU" sz="1200" dirty="0" smtClean="0"/>
              <a:t>получать извещения о риске инфекции, инструментах предотвращения и  рекомендации от правительства, академического сообщества и больничного руководства. Список персонала должен храниться в центре диализа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Информация о поездках, работе, занятиях, контактах и</a:t>
            </a:r>
            <a:r>
              <a:rPr lang="en-US" sz="1200" dirty="0" smtClean="0"/>
              <a:t> </a:t>
            </a:r>
            <a:r>
              <a:rPr lang="ru-RU" sz="1200" dirty="0" smtClean="0"/>
              <a:t>групповых контактах каждого сотрудника, больного, их членов семей, сотрудников того же учреждения, коллег по работе должны собираться и регулярно обновляться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Последние рекомендации по ведению и эпидемическая информация должны обновляться и доводиться до всего медицинского персонала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Следует избегать или минимизировать групповую активность, включая групповые обходы, занятия, обсуждения больных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Персоналу рекомендуется принимать пищу в разное время, избегая совместных обедов. Перед едой следует снять очки, маски, шапочки и вымыть руки проточной водой. Разговоры во время еды должны быть минимизированы для избегания распространения капелек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Персонал должен </a:t>
            </a:r>
            <a:r>
              <a:rPr lang="ru-RU" sz="1200" dirty="0" err="1" smtClean="0"/>
              <a:t>мониторить</a:t>
            </a:r>
            <a:r>
              <a:rPr lang="ru-RU" sz="1200" dirty="0" smtClean="0"/>
              <a:t> собственные симптомы и информировать руководителя, если у них или членов их семей развиваются симптомы, предполагающие инфекцию </a:t>
            </a:r>
            <a:r>
              <a:rPr lang="en-US" sz="1200" dirty="0" smtClean="0"/>
              <a:t>COVID-19</a:t>
            </a:r>
            <a:r>
              <a:rPr lang="ru-RU" sz="1200" dirty="0" smtClean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Должны быть введены входной контроль, выявление и избегание людей с риском инфекции, измерение температуры тела, мыт</a:t>
            </a:r>
            <a:r>
              <a:rPr lang="ru-RU" sz="1200" dirty="0"/>
              <a:t>ье рук, </a:t>
            </a:r>
            <a:r>
              <a:rPr lang="ru-RU" sz="1200" dirty="0" smtClean="0"/>
              <a:t>пользование во время процедур соответствующими масками (хирургические или </a:t>
            </a:r>
            <a:r>
              <a:rPr lang="en-US" sz="1200" dirty="0" smtClean="0"/>
              <a:t>N</a:t>
            </a:r>
            <a:r>
              <a:rPr lang="ru-RU" sz="1200" dirty="0" smtClean="0"/>
              <a:t>95), дезинфекция аппаратов, чистота, хорошие кондиционирование воздуха и вентиляция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Не следует касаться больных стетоскопом без крайней необходимости</a:t>
            </a:r>
            <a:endParaRPr lang="ru-RU" sz="120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596590" y="1126273"/>
            <a:ext cx="110508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solidFill>
                  <a:schemeClr val="accent3">
                    <a:lumMod val="75000"/>
                  </a:schemeClr>
                </a:solidFill>
              </a:rPr>
              <a:t>ЦЕНТР ДИАЛИЗА И ПЕРСОНАЛ</a:t>
            </a:r>
          </a:p>
        </p:txBody>
      </p:sp>
    </p:spTree>
    <p:extLst>
      <p:ext uri="{BB962C8B-B14F-4D97-AF65-F5344CB8AC3E}">
        <p14:creationId xmlns:p14="http://schemas.microsoft.com/office/powerpoint/2010/main" val="33473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7283-F1A7-4916-B096-5163DBA927DA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комендации по </a:t>
            </a:r>
            <a:r>
              <a:rPr lang="en-US" dirty="0"/>
              <a:t>covid-19</a:t>
            </a:r>
            <a:endParaRPr lang="ru-RU" dirty="0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3"/>
          </p:nvPr>
        </p:nvSpPr>
        <p:spPr>
          <a:xfrm>
            <a:off x="598525" y="1084418"/>
            <a:ext cx="11016000" cy="225850"/>
          </a:xfrm>
        </p:spPr>
        <p:txBody>
          <a:bodyPr/>
          <a:lstStyle/>
          <a:p>
            <a:r>
              <a:rPr lang="ru-RU" sz="1400" dirty="0" smtClean="0"/>
              <a:t>Ведение больных</a:t>
            </a:r>
            <a:endParaRPr lang="ru-RU" sz="1400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4"/>
          </p:nvPr>
        </p:nvSpPr>
        <p:spPr>
          <a:xfrm>
            <a:off x="587375" y="1371600"/>
            <a:ext cx="11017249" cy="4867507"/>
          </a:xfrm>
          <a:solidFill>
            <a:schemeClr val="accent5">
              <a:lumMod val="40000"/>
              <a:lumOff val="60000"/>
            </a:schemeClr>
          </a:solidFill>
        </p:spPr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По прибытии на диализ всем больным должна измеряться температура тела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При входе в диализный зал больным и сопровождающим лицам должно быть предоставлено бесконтактное (работающее без помощи рук) дезинфицирующее средство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Больным следует избегать приема пищи во время диализа. Возможно использовать сладости для предотвращения гипогликемии.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Больные с лихорадкой или респираторными симптомами должны позвонить в центр до прибытия, чтобы быть принятыми в помещении, отдельном от зоны диализа и осмотрены на предмет </a:t>
            </a:r>
            <a:r>
              <a:rPr lang="en-US" sz="1200" dirty="0" smtClean="0"/>
              <a:t>COVID-19</a:t>
            </a:r>
            <a:r>
              <a:rPr lang="ru-RU" sz="1200" dirty="0" smtClean="0"/>
              <a:t>. При подозрении на </a:t>
            </a:r>
            <a:r>
              <a:rPr lang="en-US" sz="1200" dirty="0" smtClean="0"/>
              <a:t>COVID-19</a:t>
            </a:r>
            <a:r>
              <a:rPr lang="ru-RU" sz="1200" dirty="0" smtClean="0"/>
              <a:t> больные должны получать</a:t>
            </a:r>
            <a:r>
              <a:rPr lang="en-US" sz="1200" dirty="0" smtClean="0"/>
              <a:t> </a:t>
            </a:r>
            <a:r>
              <a:rPr lang="ru-RU" sz="1200" dirty="0" smtClean="0"/>
              <a:t>«Специальную модель диализа» (</a:t>
            </a:r>
            <a:r>
              <a:rPr lang="en-US" sz="1200" dirty="0" smtClean="0"/>
              <a:t>Fixed Dialysis Care Model)</a:t>
            </a:r>
            <a:r>
              <a:rPr lang="ru-RU" sz="1200" dirty="0" smtClean="0"/>
              <a:t> на протяжении 14-дневного периода карантина:</a:t>
            </a:r>
          </a:p>
          <a:p>
            <a:pPr marL="4445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FF0000"/>
                </a:solidFill>
              </a:rPr>
              <a:t>Место проведения. Больные должны продолжать получать диализ в своем центре без перевода в другой</a:t>
            </a:r>
          </a:p>
          <a:p>
            <a:pPr marL="4445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FF0000"/>
                </a:solidFill>
              </a:rPr>
              <a:t>Смена и персонал. Диализная смена и персонал не меняются для избегания перекрестной контаминации</a:t>
            </a:r>
          </a:p>
          <a:p>
            <a:pPr marL="44450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Больные, нуждающиеся в хирургическом вмешательстве для сосудистого доступа, </a:t>
            </a:r>
            <a:r>
              <a:rPr lang="ru-RU" sz="1200" dirty="0" err="1" smtClean="0"/>
              <a:t>д.б</a:t>
            </a:r>
            <a:r>
              <a:rPr lang="ru-RU" sz="1200" dirty="0" smtClean="0"/>
              <a:t>. </a:t>
            </a:r>
            <a:r>
              <a:rPr lang="ru-RU" sz="1200" dirty="0" err="1" smtClean="0"/>
              <a:t>скринированы</a:t>
            </a:r>
            <a:r>
              <a:rPr lang="ru-RU" sz="1200" dirty="0" smtClean="0"/>
              <a:t> на новый </a:t>
            </a:r>
            <a:r>
              <a:rPr lang="ru-RU" sz="1200" dirty="0" err="1" smtClean="0"/>
              <a:t>коронавирус</a:t>
            </a:r>
            <a:r>
              <a:rPr lang="ru-RU" sz="1200" dirty="0" smtClean="0"/>
              <a:t> до операции. Операции у больных с подтвержденной или подозреваемой новой </a:t>
            </a:r>
            <a:r>
              <a:rPr lang="ru-RU" sz="1200" dirty="0" err="1" smtClean="0"/>
              <a:t>коронавирусной</a:t>
            </a:r>
            <a:r>
              <a:rPr lang="ru-RU" sz="1200" dirty="0" smtClean="0"/>
              <a:t> инфекцией проводятся специальной операционной с необходимой защитой мед. </a:t>
            </a:r>
            <a:r>
              <a:rPr lang="ru-RU" sz="1200" dirty="0"/>
              <a:t>п</a:t>
            </a:r>
            <a:r>
              <a:rPr lang="ru-RU" sz="1200" dirty="0" smtClean="0"/>
              <a:t>ерсонала.</a:t>
            </a:r>
          </a:p>
          <a:p>
            <a:pPr marL="44450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Транспортировка. Общественным транспортом пользоваться нельзя. Больным должна быть организована персональная перевозка по фиксированному маршруту. Водитель и сопровождающие на протяжении всего пути должны носить маску (хирургическую или </a:t>
            </a:r>
            <a:r>
              <a:rPr lang="en-US" sz="1200" dirty="0" smtClean="0"/>
              <a:t>N95</a:t>
            </a:r>
            <a:r>
              <a:rPr lang="ru-RU" sz="1200" dirty="0" smtClean="0"/>
              <a:t>).</a:t>
            </a:r>
          </a:p>
          <a:p>
            <a:pPr marL="444500" indent="-171450">
              <a:buFont typeface="Arial" panose="020B0604020202020204" pitchFamily="34" charset="0"/>
              <a:buChar char="•"/>
            </a:pPr>
            <a:r>
              <a:rPr lang="ru-RU" sz="1200" dirty="0"/>
              <a:t>Больные с лихорадкой </a:t>
            </a:r>
            <a:r>
              <a:rPr lang="ru-RU" sz="1200" dirty="0" smtClean="0"/>
              <a:t>должны быть </a:t>
            </a:r>
            <a:r>
              <a:rPr lang="ru-RU" sz="1200" dirty="0" err="1" smtClean="0"/>
              <a:t>скринированы</a:t>
            </a:r>
            <a:r>
              <a:rPr lang="ru-RU" sz="1200" dirty="0" smtClean="0"/>
              <a:t> на новую </a:t>
            </a:r>
            <a:r>
              <a:rPr lang="ru-RU" sz="1200" dirty="0" err="1" smtClean="0"/>
              <a:t>коронавирусную</a:t>
            </a:r>
            <a:r>
              <a:rPr lang="ru-RU" sz="1200" dirty="0" smtClean="0"/>
              <a:t> инфекцию и должны получать диализ в последнюю смену до исключения </a:t>
            </a:r>
            <a:r>
              <a:rPr lang="en-US" sz="1200" dirty="0" smtClean="0"/>
              <a:t>COVID-19</a:t>
            </a:r>
            <a:r>
              <a:rPr lang="ru-RU" sz="1200" dirty="0" smtClean="0"/>
              <a:t>.</a:t>
            </a:r>
          </a:p>
          <a:p>
            <a:pPr marL="44450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Маршрут входа в центр. Погрузка и выгрузка не должны проводиться вместе с другими больными. Следует избегать совместного с другими больными входа и выхода в центр. Маршрут, способ и время транспортировки персонала должны быть фиксированы. </a:t>
            </a:r>
          </a:p>
          <a:p>
            <a:pPr marL="44450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редосторожности в диализном центре. Больные не должны находиться вблизи друг к другу, на расстоянии минимум 6 футов (184 см). Зоны лечения и ожидания должны иметь хорошие кондиционирование и вентиляцию для удаления капель из воздуха.</a:t>
            </a:r>
          </a:p>
          <a:p>
            <a:pPr marL="273050"/>
            <a:r>
              <a:rPr lang="en-US" sz="800" dirty="0" err="1"/>
              <a:t>Naicker</a:t>
            </a:r>
            <a:r>
              <a:rPr lang="en-US" sz="800" dirty="0"/>
              <a:t> S, Yang C-W, </a:t>
            </a:r>
            <a:r>
              <a:rPr lang="en-US" sz="800" dirty="0" err="1"/>
              <a:t>Jha</a:t>
            </a:r>
            <a:r>
              <a:rPr lang="en-US" sz="800" dirty="0"/>
              <a:t> V. recommendations for the Novel Coronavirus 2019 Epidemic: Kidney Patients, Health Care Professionals and Family/Caregivers/ https://www.theisn.org/881#recommendations-for-the-novel-coronavirus-2019-epidemic</a:t>
            </a:r>
          </a:p>
          <a:p>
            <a:pPr marL="273050"/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838458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Naicker</a:t>
            </a:r>
            <a:r>
              <a:rPr lang="en-US" dirty="0"/>
              <a:t> S, Yang C-W, </a:t>
            </a:r>
            <a:r>
              <a:rPr lang="en-US" dirty="0" err="1"/>
              <a:t>Jha</a:t>
            </a:r>
            <a:r>
              <a:rPr lang="en-US" dirty="0"/>
              <a:t> V. recommendations for the Novel Coronavirus 2019 Epidemic: Kidney Patients, Health Care Professionals and Family/Caregivers/ https://www.theisn.org/881#recommendations-for-the-novel-coronavirus-2019-epidemic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7283-F1A7-4916-B096-5163DBA927DA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3"/>
          </p:nvPr>
        </p:nvSpPr>
        <p:spPr>
          <a:xfrm>
            <a:off x="598525" y="1084418"/>
            <a:ext cx="11016000" cy="225850"/>
          </a:xfrm>
        </p:spPr>
        <p:txBody>
          <a:bodyPr/>
          <a:lstStyle/>
          <a:p>
            <a:r>
              <a:rPr lang="ru-RU" sz="1400" dirty="0" smtClean="0"/>
              <a:t>Ведение больных</a:t>
            </a:r>
            <a:endParaRPr lang="ru-RU" sz="1400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4"/>
          </p:nvPr>
        </p:nvSpPr>
        <p:spPr>
          <a:xfrm>
            <a:off x="587375" y="1371600"/>
            <a:ext cx="11017249" cy="2391937"/>
          </a:xfrm>
          <a:solidFill>
            <a:schemeClr val="accent5">
              <a:lumMod val="40000"/>
              <a:lumOff val="60000"/>
            </a:schemeClr>
          </a:solidFill>
        </p:spPr>
        <p:txBody>
          <a:bodyPr/>
          <a:lstStyle/>
          <a:p>
            <a:pPr marL="44450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ерсонал. Все сотрудники, непосредственно участвующие в лечении, должны иметь полную защиту, включая водозащитную изолирующую одежду с длинными рукавами, шапочки, очки, перчатки и медицинские маски (хирургические или большей градации). Строгое внедрение гигиены рук.</a:t>
            </a:r>
          </a:p>
          <a:p>
            <a:pPr marL="44450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Диализные аппараты. Оборудование, которое может контактировать с больными или потенциально зараженным материалом должно быть дезинфицировано по стандартным протоколам.</a:t>
            </a:r>
          </a:p>
          <a:p>
            <a:pPr marL="268288" indent="-228600">
              <a:buFont typeface="+mj-lt"/>
              <a:buAutoNum type="arabicPeriod" startAt="5"/>
            </a:pPr>
            <a:r>
              <a:rPr lang="ru-RU" sz="1200" dirty="0" smtClean="0"/>
              <a:t>При идентификации вновь выявленного или высоко подозрительного случая </a:t>
            </a:r>
            <a:r>
              <a:rPr lang="en-US" sz="1200" dirty="0" smtClean="0"/>
              <a:t>COVID-19</a:t>
            </a:r>
            <a:r>
              <a:rPr lang="ru-RU" sz="1200" dirty="0" smtClean="0"/>
              <a:t> в центре немедленно должна быть проведена дезинфекция. Площади близкого контакта с такими больными не должны быть использованы для других больных, пока не вычищены.</a:t>
            </a:r>
          </a:p>
          <a:p>
            <a:pPr marL="268288" indent="-228600">
              <a:buFont typeface="+mj-lt"/>
              <a:buAutoNum type="arabicPeriod" startAt="5"/>
            </a:pPr>
            <a:r>
              <a:rPr lang="ru-RU" sz="1200" dirty="0" smtClean="0"/>
              <a:t>Медицинские отходы от подтвержденных или подозреваемых на </a:t>
            </a:r>
            <a:r>
              <a:rPr lang="en-US" sz="1200" dirty="0" smtClean="0"/>
              <a:t>COVID</a:t>
            </a:r>
            <a:r>
              <a:rPr lang="ru-RU" sz="1200" dirty="0" smtClean="0"/>
              <a:t>-19 больных классифицируют как инфицированные медицинские отходы и утилизируют соответственно.</a:t>
            </a:r>
          </a:p>
          <a:p>
            <a:pPr marL="268288" indent="-228600">
              <a:buFont typeface="+mj-lt"/>
              <a:buAutoNum type="arabicPeriod" startAt="5"/>
            </a:pPr>
            <a:r>
              <a:rPr lang="ru-RU" sz="1200" dirty="0" smtClean="0"/>
              <a:t>Органы здравоохранения должны быть немедленно извещены о подозреваемых или подтвержденных случаях </a:t>
            </a:r>
            <a:r>
              <a:rPr lang="en-US" sz="1200" dirty="0" smtClean="0"/>
              <a:t>COVID-19</a:t>
            </a:r>
            <a:r>
              <a:rPr lang="ru-RU" sz="1200" dirty="0" smtClean="0"/>
              <a:t>.</a:t>
            </a:r>
          </a:p>
        </p:txBody>
      </p:sp>
      <p:sp>
        <p:nvSpPr>
          <p:cNvPr id="9" name="Подзаголовок 5"/>
          <p:cNvSpPr txBox="1">
            <a:spLocks/>
          </p:cNvSpPr>
          <p:nvPr/>
        </p:nvSpPr>
        <p:spPr bwMode="gray">
          <a:xfrm>
            <a:off x="555779" y="3829921"/>
            <a:ext cx="11016000" cy="2258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8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None/>
              <a:defRPr sz="18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None/>
              <a:defRPr sz="18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None/>
              <a:defRPr sz="18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None/>
              <a:defRPr sz="18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None/>
              <a:defRPr sz="18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None/>
              <a:defRPr sz="18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None/>
              <a:defRPr sz="18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/>
              <a:t>РЕКОМЕНДАЦИИ ДЛЯ ЧЛЕНОВ СЕМЬИ И СОЦИАЛЬНЫХ РАБОТНИКОВ</a:t>
            </a:r>
            <a:endParaRPr lang="ru-RU" sz="140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555779" y="4125951"/>
            <a:ext cx="11091670" cy="14465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200" dirty="0" smtClean="0"/>
              <a:t>Все члены семьи, живущие с диализными больными, должны следовать правилам предосторожности, дающимся больным для предотвращения передачи </a:t>
            </a:r>
            <a:r>
              <a:rPr lang="en-US" sz="1200" dirty="0" smtClean="0"/>
              <a:t>COVID-19</a:t>
            </a:r>
            <a:r>
              <a:rPr lang="ru-RU" sz="1200" dirty="0" smtClean="0"/>
              <a:t> от человека человеку и внутри семьи, что включает измерение температуры, персональную </a:t>
            </a:r>
            <a:r>
              <a:rPr lang="ru-RU" sz="1200" dirty="0" err="1" smtClean="0"/>
              <a:t>гигиену,мытье</a:t>
            </a:r>
            <a:r>
              <a:rPr lang="ru-RU" sz="1200" dirty="0" smtClean="0"/>
              <a:t> рук и </a:t>
            </a:r>
            <a:r>
              <a:rPr lang="ru-RU" sz="1200" dirty="0" err="1" smtClean="0"/>
              <a:t>немедленнй</a:t>
            </a:r>
            <a:r>
              <a:rPr lang="ru-RU" sz="1200" dirty="0" smtClean="0"/>
              <a:t> доклад о потенциально больных.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200" dirty="0" smtClean="0"/>
              <a:t>Диализные больные, у которых член семьи или социальный работник находятся в режиме карантина, </a:t>
            </a:r>
            <a:r>
              <a:rPr lang="ru-RU" sz="1200" dirty="0"/>
              <a:t>получают диализ </a:t>
            </a:r>
            <a:r>
              <a:rPr lang="ru-RU" sz="1200" dirty="0" smtClean="0"/>
              <a:t>как </a:t>
            </a:r>
            <a:r>
              <a:rPr lang="ru-RU" sz="1200" dirty="0"/>
              <a:t>обычно в течение 14-дневного периода</a:t>
            </a:r>
            <a:r>
              <a:rPr lang="ru-RU" sz="1200" dirty="0" smtClean="0"/>
              <a:t>.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200" dirty="0" smtClean="0"/>
              <a:t>При </a:t>
            </a:r>
            <a:r>
              <a:rPr lang="ru-RU" sz="1200" dirty="0"/>
              <a:t>переводе </a:t>
            </a:r>
            <a:r>
              <a:rPr lang="ru-RU" sz="1200" dirty="0" smtClean="0"/>
              <a:t>члена </a:t>
            </a:r>
            <a:r>
              <a:rPr lang="ru-RU" sz="1200" dirty="0"/>
              <a:t>семьи или </a:t>
            </a:r>
            <a:r>
              <a:rPr lang="ru-RU" sz="1200" dirty="0" smtClean="0"/>
              <a:t>социального работника в подтвержденный на </a:t>
            </a:r>
            <a:r>
              <a:rPr lang="en-US" sz="1200" dirty="0" smtClean="0"/>
              <a:t>COVID-19</a:t>
            </a:r>
            <a:r>
              <a:rPr lang="ru-RU" sz="1200" dirty="0" smtClean="0"/>
              <a:t> случай, статус больного меняется  он проходит лечение соответственно вышеизложенных рекомендаций.</a:t>
            </a:r>
          </a:p>
        </p:txBody>
      </p:sp>
      <p:sp>
        <p:nvSpPr>
          <p:cNvPr id="12" name="Заголовок 4"/>
          <p:cNvSpPr txBox="1">
            <a:spLocks/>
          </p:cNvSpPr>
          <p:nvPr/>
        </p:nvSpPr>
        <p:spPr bwMode="gray">
          <a:xfrm>
            <a:off x="739774" y="314481"/>
            <a:ext cx="11017249" cy="7200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Рекомендации по </a:t>
            </a:r>
            <a:r>
              <a:rPr lang="en-US" dirty="0" smtClean="0"/>
              <a:t>covid-19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9153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ащита вспомогательного персонал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US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3966575"/>
              </p:ext>
            </p:extLst>
          </p:nvPr>
        </p:nvGraphicFramePr>
        <p:xfrm>
          <a:off x="387194" y="948266"/>
          <a:ext cx="11332736" cy="30104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7312"/>
                <a:gridCol w="1103971"/>
                <a:gridCol w="1126273"/>
                <a:gridCol w="1154152"/>
                <a:gridCol w="1103970"/>
                <a:gridCol w="1143000"/>
                <a:gridCol w="1265664"/>
                <a:gridCol w="1098394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Категория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Гигиена рук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Защита глаз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Респиратор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Маска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Фартук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Халат одноразовый</a:t>
                      </a:r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Перчатки</a:t>
                      </a:r>
                      <a:endParaRPr lang="ru-RU" sz="1050" dirty="0"/>
                    </a:p>
                  </a:txBody>
                  <a:tcPr/>
                </a:tc>
              </a:tr>
              <a:tr h="29621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риемная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</a:tr>
              <a:tr h="284356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ортировка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</a:tr>
              <a:tr h="312235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Медик (рутинный</a:t>
                      </a:r>
                      <a:r>
                        <a:rPr lang="ru-RU" sz="1200" baseline="0" dirty="0" smtClean="0"/>
                        <a:t> осмотр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</a:tr>
              <a:tr h="41817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Медик (распыление аэрозоля, уход за тяжелым больным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 (при отсутствии халата)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</a:tr>
              <a:tr h="304428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Вспомогательный персонал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хранник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 (если больные без масок)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  <a:tr h="304428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Транспортировочный персонал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+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99584" y="5975262"/>
            <a:ext cx="113426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err="1"/>
              <a:t>Naicker</a:t>
            </a:r>
            <a:r>
              <a:rPr lang="en-US" sz="800" dirty="0"/>
              <a:t> S, Yang C-W, </a:t>
            </a:r>
            <a:r>
              <a:rPr lang="en-US" sz="800" dirty="0" err="1"/>
              <a:t>Jha</a:t>
            </a:r>
            <a:r>
              <a:rPr lang="en-US" sz="800" dirty="0"/>
              <a:t> V. recommendations for the Novel Coronavirus 2019 Epidemic: Kidney Patients, Health Care Professionals and Family/Caregivers/ </a:t>
            </a:r>
            <a:r>
              <a:rPr lang="en-US" sz="800" u="sng" dirty="0">
                <a:hlinkClick r:id="rId2"/>
              </a:rPr>
              <a:t>https://www.theisn.org/881#recommendations-for-the-novel-coronavirus-2019-epidemic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33221269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7283-F1A7-4916-B096-5163DBA927DA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Лечение пациентов на диализе</a:t>
            </a:r>
            <a:br>
              <a:rPr lang="ru-RU" dirty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4"/>
          </p:nvPr>
        </p:nvSpPr>
        <p:spPr>
          <a:xfrm>
            <a:off x="483202" y="812545"/>
            <a:ext cx="11017249" cy="1964110"/>
          </a:xfrm>
          <a:solidFill>
            <a:schemeClr val="accent5">
              <a:lumMod val="40000"/>
              <a:lumOff val="60000"/>
            </a:schemeClr>
          </a:solidFill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Инфекция </a:t>
            </a:r>
            <a:r>
              <a:rPr lang="en-US" sz="1200" dirty="0"/>
              <a:t>COVID-</a:t>
            </a:r>
            <a:r>
              <a:rPr lang="ru-RU" sz="1200" dirty="0"/>
              <a:t>19 является серьезным вызовом для пациентов на диализе, особенно для </a:t>
            </a:r>
            <a:r>
              <a:rPr lang="ru-RU" sz="1200" dirty="0" smtClean="0"/>
              <a:t>тех, </a:t>
            </a:r>
            <a:r>
              <a:rPr lang="ru-RU" sz="1200" dirty="0"/>
              <a:t>кто получает диализ в центре. </a:t>
            </a:r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ациенты </a:t>
            </a:r>
            <a:r>
              <a:rPr lang="ru-RU" sz="1200" dirty="0"/>
              <a:t>с уремией особенно уязвимы к инфекциям и могут демонстрировать широкий спектр как клинических </a:t>
            </a:r>
            <a:r>
              <a:rPr lang="ru-RU" sz="1200" dirty="0" smtClean="0"/>
              <a:t>симптомов, </a:t>
            </a:r>
            <a:r>
              <a:rPr lang="ru-RU" sz="1200" dirty="0"/>
              <a:t>так и </a:t>
            </a:r>
            <a:r>
              <a:rPr lang="ru-RU" sz="1200" dirty="0" err="1"/>
              <a:t>инфекционности</a:t>
            </a:r>
            <a:r>
              <a:rPr lang="ru-RU" sz="1200" dirty="0"/>
              <a:t>. </a:t>
            </a:r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FF0000"/>
                </a:solidFill>
              </a:rPr>
              <a:t>Проведение </a:t>
            </a:r>
            <a:r>
              <a:rPr lang="ru-RU" sz="1200" dirty="0">
                <a:solidFill>
                  <a:srgbClr val="FF0000"/>
                </a:solidFill>
              </a:rPr>
              <a:t>гемодиализа в центре значительно повышает риск передачи инфекции как медицинскому персоналу и всем сотрудникам центра диализа, так и членам семьи пациента и другим людям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Китайское </a:t>
            </a:r>
            <a:r>
              <a:rPr lang="ru-RU" sz="1200" dirty="0" err="1"/>
              <a:t>Нефрологическое</a:t>
            </a:r>
            <a:r>
              <a:rPr lang="ru-RU" sz="1200" dirty="0"/>
              <a:t> Общество и Тайваньское </a:t>
            </a:r>
            <a:r>
              <a:rPr lang="ru-RU" sz="1200" dirty="0" err="1"/>
              <a:t>Нефрологическое</a:t>
            </a:r>
            <a:r>
              <a:rPr lang="ru-RU" sz="1200" dirty="0"/>
              <a:t> Общество разработали </a:t>
            </a:r>
            <a:r>
              <a:rPr lang="ru-RU" sz="1200" dirty="0" smtClean="0"/>
              <a:t>руководство </a:t>
            </a:r>
            <a:r>
              <a:rPr lang="ru-RU" sz="1200" dirty="0"/>
              <a:t>для диализных отделений </a:t>
            </a:r>
            <a:r>
              <a:rPr lang="ru-RU" sz="1200" dirty="0" smtClean="0"/>
              <a:t>для работы во </a:t>
            </a:r>
            <a:r>
              <a:rPr lang="ru-RU" sz="1200" dirty="0"/>
              <a:t>время вспышки </a:t>
            </a:r>
            <a:r>
              <a:rPr lang="en-US" sz="1200" dirty="0"/>
              <a:t>COVID-19</a:t>
            </a:r>
            <a:r>
              <a:rPr lang="ru-RU" sz="1200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Резюме этих рекомендаций </a:t>
            </a:r>
            <a:r>
              <a:rPr lang="ru-RU" sz="1200" dirty="0" smtClean="0"/>
              <a:t>- на следующих слайдах</a:t>
            </a:r>
            <a:endParaRPr lang="ru-RU" sz="1200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589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7283-F1A7-4916-B096-5163DBA927DA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зюме рекомендаций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4"/>
          </p:nvPr>
        </p:nvSpPr>
        <p:spPr>
          <a:xfrm>
            <a:off x="586126" y="939865"/>
            <a:ext cx="11017249" cy="2076540"/>
          </a:xfrm>
          <a:solidFill>
            <a:schemeClr val="accent5">
              <a:lumMod val="40000"/>
              <a:lumOff val="60000"/>
            </a:schemeClr>
          </a:solidFill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Рабочая </a:t>
            </a:r>
            <a:r>
              <a:rPr lang="ru-RU" sz="1200" dirty="0"/>
              <a:t>группа, состоящая из диализных врачей, медицинского персонала и технических специалистов должна пройти обучение для обновления клинических знаний об эпидемии  </a:t>
            </a:r>
            <a:r>
              <a:rPr lang="en-US" sz="1200" dirty="0"/>
              <a:t>COVID-</a:t>
            </a:r>
            <a:r>
              <a:rPr lang="ru-RU" sz="1200" dirty="0"/>
              <a:t>19, для осведомления об опасности заражения,  о профилактических противоэпидемических мерах и рекомендациях  правительства, академических сообществ и руководства больницы. Должен быть создан или уточнен список </a:t>
            </a:r>
            <a:r>
              <a:rPr lang="ru-RU" sz="1200" dirty="0" smtClean="0"/>
              <a:t>персонала, </a:t>
            </a:r>
            <a:r>
              <a:rPr lang="ru-RU" sz="1200" dirty="0"/>
              <a:t>который должен храниться в центре диализа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Информация о путешествиях, занятиях, контактах и группах в которых участвуют сотрудники (TOCC</a:t>
            </a:r>
            <a:r>
              <a:rPr lang="ru-RU" sz="1200" dirty="0" smtClean="0"/>
              <a:t>), </a:t>
            </a:r>
            <a:r>
              <a:rPr lang="ru-RU" sz="1200" dirty="0"/>
              <a:t>истории медицинского персонала, пациентов, членов их семей, работников того же учреждения и коллег по работе должны быть собраны и обновляться регулярно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Последние рекомендации по уходу и информация об эпидемии должна обновляться и доставляться всему медицинскому персоналу по мере необходимости. Тренировки и обучающие занятия могут проводится индивидуально или онлайн.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797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E48F5578-0C7C-4655-9F75-74FEF05AF0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B405FA-6705-48C3-B7F9-19548C0F8E9F}" type="datetime1">
              <a:rPr kumimoji="0" lang="de-AT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.04.202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1DD8BEB-9654-4B35-8C95-12DD1AAE1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К.Гуревич, О.Кодюшева </a:t>
            </a:r>
            <a:r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VID19 29 </a:t>
            </a: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апр 202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="" xmlns:a16="http://schemas.microsoft.com/office/drawing/2014/main" id="{DF6C3361-0DEF-4663-A477-B2700F189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Локальный кризисный центр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="" xmlns:a16="http://schemas.microsoft.com/office/drawing/2014/main" id="{B4B6E609-B9A4-4175-88A9-B9D4E668FBF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9922" y="743606"/>
            <a:ext cx="11017249" cy="5699682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marL="96838" lvl="0" indent="176213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400" dirty="0" smtClean="0"/>
              <a:t>Функционирует с 25</a:t>
            </a:r>
            <a:r>
              <a:rPr lang="en-US" sz="1400" dirty="0" smtClean="0"/>
              <a:t>.0</a:t>
            </a:r>
            <a:r>
              <a:rPr lang="ru-RU" sz="1400" dirty="0" smtClean="0"/>
              <a:t>2</a:t>
            </a:r>
            <a:r>
              <a:rPr lang="en-US" sz="1400" dirty="0" smtClean="0"/>
              <a:t>.2020</a:t>
            </a:r>
          </a:p>
          <a:p>
            <a:pPr marL="96838" lvl="0" indent="176213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400" dirty="0" smtClean="0"/>
              <a:t>Состав: представители медицинского отдела, эпидемиолог, представители менеджмента, отдела персонала, юридического отдела, отделов закупок, технических служб, связей с общественностью.</a:t>
            </a:r>
          </a:p>
          <a:p>
            <a:pPr marL="96838" lvl="0" indent="176213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400" dirty="0" smtClean="0"/>
              <a:t>Медицинская деятельность:</a:t>
            </a:r>
          </a:p>
          <a:p>
            <a:pPr marL="269875" lvl="0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 smtClean="0"/>
              <a:t>Разработка руководящих документов по работе в условиях пандемии </a:t>
            </a:r>
            <a:r>
              <a:rPr lang="en-US" sz="1400" dirty="0" smtClean="0"/>
              <a:t>COVID 19 </a:t>
            </a:r>
            <a:r>
              <a:rPr lang="ru-RU" sz="1400" dirty="0" smtClean="0"/>
              <a:t>для клиник </a:t>
            </a:r>
            <a:r>
              <a:rPr lang="en-US" sz="1400" dirty="0" smtClean="0"/>
              <a:t>FMC</a:t>
            </a:r>
            <a:r>
              <a:rPr lang="ru-RU" sz="1400" dirty="0" smtClean="0"/>
              <a:t> в России на   основе руководящих документов МЗ РФ, </a:t>
            </a:r>
            <a:r>
              <a:rPr lang="ru-RU" sz="1400" dirty="0" err="1" smtClean="0"/>
              <a:t>Роспотребнадзора</a:t>
            </a:r>
            <a:r>
              <a:rPr lang="ru-RU" sz="1400" dirty="0" smtClean="0"/>
              <a:t>, </a:t>
            </a:r>
            <a:r>
              <a:rPr lang="en-US" sz="1400" dirty="0"/>
              <a:t>FMC </a:t>
            </a:r>
            <a:r>
              <a:rPr lang="en-US" sz="1400" dirty="0" smtClean="0"/>
              <a:t>EMEA</a:t>
            </a:r>
            <a:r>
              <a:rPr lang="ru-RU" sz="1400" dirty="0" smtClean="0"/>
              <a:t>.</a:t>
            </a:r>
          </a:p>
          <a:p>
            <a:pPr marL="269875" lvl="0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/>
              <a:t>Постоянная связь с диализными </a:t>
            </a:r>
            <a:r>
              <a:rPr lang="ru-RU" sz="1400" dirty="0" smtClean="0"/>
              <a:t>клиниками</a:t>
            </a:r>
            <a:r>
              <a:rPr lang="en-US" sz="1400" dirty="0" smtClean="0"/>
              <a:t> FMC</a:t>
            </a:r>
            <a:endParaRPr lang="ru-RU" sz="1400" dirty="0"/>
          </a:p>
          <a:p>
            <a:pPr marL="269875" lvl="0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/>
              <a:t>Еженедельные видеоконференции с участием всех Российских диализных клиник</a:t>
            </a:r>
            <a:r>
              <a:rPr lang="en-US" sz="1400" dirty="0"/>
              <a:t> </a:t>
            </a:r>
            <a:r>
              <a:rPr lang="en-US" sz="1400" dirty="0" smtClean="0"/>
              <a:t>FMC</a:t>
            </a:r>
            <a:endParaRPr lang="en-US" sz="1400" dirty="0"/>
          </a:p>
          <a:p>
            <a:pPr marL="269875" lvl="0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/>
              <a:t>Еженедельное заполнение электронных опросников</a:t>
            </a:r>
            <a:r>
              <a:rPr lang="en-US" sz="1400" dirty="0"/>
              <a:t> </a:t>
            </a:r>
          </a:p>
          <a:p>
            <a:pPr marL="269875" lvl="0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 smtClean="0"/>
              <a:t>Участие в организации маршрутизации больных в клиниках </a:t>
            </a:r>
            <a:r>
              <a:rPr lang="en-US" sz="1400" dirty="0"/>
              <a:t>FMC </a:t>
            </a:r>
            <a:r>
              <a:rPr lang="ru-RU" sz="1400" dirty="0"/>
              <a:t>в России </a:t>
            </a:r>
            <a:r>
              <a:rPr lang="ru-RU" sz="1400" dirty="0" smtClean="0"/>
              <a:t>в связи с перемещением больных:</a:t>
            </a:r>
          </a:p>
          <a:p>
            <a:pPr marL="447675" lvl="0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 smtClean="0"/>
              <a:t>В специализированные инфекционные отделения и обратно</a:t>
            </a:r>
          </a:p>
          <a:p>
            <a:pPr marL="447675" lvl="0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 smtClean="0"/>
              <a:t>При организации смен для больных, нуждающихся в изоляции</a:t>
            </a:r>
          </a:p>
          <a:p>
            <a:pPr marL="447675" lvl="0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 smtClean="0"/>
              <a:t>При переводе больных в клиники </a:t>
            </a:r>
            <a:r>
              <a:rPr lang="en-US" sz="1400" dirty="0" smtClean="0"/>
              <a:t>FMC </a:t>
            </a:r>
            <a:r>
              <a:rPr lang="ru-RU" sz="1400" dirty="0" smtClean="0"/>
              <a:t>из диализных отделений больниц</a:t>
            </a:r>
          </a:p>
          <a:p>
            <a:pPr marL="447675" lvl="0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 smtClean="0"/>
              <a:t>При переводе больных между клиниками </a:t>
            </a:r>
            <a:r>
              <a:rPr lang="en-US" sz="1400" dirty="0" smtClean="0"/>
              <a:t>FMC</a:t>
            </a:r>
            <a:endParaRPr lang="ru-RU" sz="1400" dirty="0" smtClean="0"/>
          </a:p>
          <a:p>
            <a:pPr marL="269875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/>
              <a:t>Подготовка документации для разработки оптимальной маршрутизации в регионах </a:t>
            </a:r>
            <a:r>
              <a:rPr lang="ru-RU" sz="1400" dirty="0" smtClean="0"/>
              <a:t>России</a:t>
            </a:r>
          </a:p>
          <a:p>
            <a:pPr marL="269875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 smtClean="0"/>
              <a:t>Расчеты потребности и мобилизация запасов средств индивидуальной защиты</a:t>
            </a:r>
          </a:p>
          <a:p>
            <a:pPr marL="269875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 smtClean="0"/>
              <a:t>Участие в оказании помощи при организации диализной службы специализированных инфекционных учреждений в регионах России</a:t>
            </a:r>
            <a:endParaRPr lang="en-US" sz="1400" dirty="0"/>
          </a:p>
          <a:p>
            <a:pPr marL="269875" lvl="0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 smtClean="0"/>
              <a:t>Еженедельная видеоконференция кризисного центра </a:t>
            </a:r>
            <a:r>
              <a:rPr lang="en-US" sz="1400" dirty="0" smtClean="0"/>
              <a:t>FMC EMEA</a:t>
            </a:r>
            <a:r>
              <a:rPr lang="ru-RU" sz="1400" dirty="0" smtClean="0"/>
              <a:t> с участием мед. директоров </a:t>
            </a:r>
            <a:r>
              <a:rPr lang="en-US" sz="1400" dirty="0" smtClean="0"/>
              <a:t>FMC</a:t>
            </a:r>
            <a:r>
              <a:rPr lang="ru-RU" sz="1400" dirty="0" smtClean="0"/>
              <a:t> 30 Европейских стран</a:t>
            </a:r>
            <a:endParaRPr lang="en-US" sz="1400" dirty="0"/>
          </a:p>
          <a:p>
            <a:pPr marL="269875" lvl="0" indent="176213">
              <a:buFont typeface="Arial" panose="020B0604020202020204" pitchFamily="34" charset="0"/>
              <a:buChar char="•"/>
              <a:tabLst>
                <a:tab pos="177800" algn="l"/>
                <a:tab pos="457200" algn="l"/>
              </a:tabLst>
            </a:pPr>
            <a:r>
              <a:rPr lang="ru-RU" sz="1400" dirty="0" smtClean="0"/>
              <a:t>Контакты </a:t>
            </a:r>
            <a:r>
              <a:rPr lang="ru-RU" sz="1400" dirty="0"/>
              <a:t>с Российскими </a:t>
            </a:r>
            <a:r>
              <a:rPr lang="ru-RU" sz="1400" dirty="0" err="1"/>
              <a:t>нефрологическими</a:t>
            </a:r>
            <a:r>
              <a:rPr lang="ru-RU" sz="1400" dirty="0"/>
              <a:t> общественными организациями</a:t>
            </a:r>
            <a:endParaRPr lang="en-US" sz="1400" dirty="0"/>
          </a:p>
          <a:p>
            <a:pPr marL="96838">
              <a:tabLst>
                <a:tab pos="457200" algn="l"/>
              </a:tabLst>
            </a:pPr>
            <a:endParaRPr lang="en-US" sz="1400" dirty="0"/>
          </a:p>
          <a:p>
            <a:pPr marL="96838" lvl="0">
              <a:tabLst>
                <a:tab pos="457200" algn="l"/>
              </a:tabLs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23187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7283-F1A7-4916-B096-5163DBA927DA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зюме рекомендаций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4"/>
          </p:nvPr>
        </p:nvSpPr>
        <p:spPr>
          <a:xfrm>
            <a:off x="384969" y="794489"/>
            <a:ext cx="11396295" cy="5521840"/>
          </a:xfrm>
          <a:solidFill>
            <a:schemeClr val="accent5">
              <a:lumMod val="40000"/>
              <a:lumOff val="60000"/>
            </a:schemeClr>
          </a:solidFill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Групповые мероприятия, в том числе групповые обходы, групповые осмотры и исследования, тематические дискуссии, должны быть сведены к минимуму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Рекомендуется, чтобы сотрудники ели в разное время, чтобы избежать контактов при приеме пищи. Очки, маски и головные уборы следует снимать перед едой, а руки мыть проточной водой. Разговоры во время еды должен быть минимизированы, чтобы препятствовать воздушно-капельному пути передачи инфекции</a:t>
            </a:r>
            <a:r>
              <a:rPr lang="ru-RU" sz="12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Сотрудники должны самостоятельно контролировать свои симптомы и </a:t>
            </a:r>
            <a:r>
              <a:rPr lang="ru-RU" sz="1200" dirty="0" smtClean="0"/>
              <a:t>должны </a:t>
            </a:r>
            <a:r>
              <a:rPr lang="ru-RU" sz="1200" dirty="0"/>
              <a:t>сообщить руководителю </a:t>
            </a:r>
            <a:r>
              <a:rPr lang="ru-RU" sz="1200" dirty="0" smtClean="0"/>
              <a:t>группы, </a:t>
            </a:r>
            <a:r>
              <a:rPr lang="ru-RU" sz="1200" dirty="0"/>
              <a:t>если у них или членов их семьи развились </a:t>
            </a:r>
            <a:r>
              <a:rPr lang="ru-RU" sz="1200" dirty="0" smtClean="0"/>
              <a:t>симптом(ы</a:t>
            </a:r>
            <a:r>
              <a:rPr lang="ru-RU" sz="1200" dirty="0"/>
              <a:t>), </a:t>
            </a:r>
            <a:r>
              <a:rPr lang="ru-RU" sz="1200" dirty="0" smtClean="0"/>
              <a:t>наводящие </a:t>
            </a:r>
            <a:r>
              <a:rPr lang="ru-RU" sz="1200" dirty="0"/>
              <a:t>на мысль о COVID-19 инфекции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Должен проводится контроль на входе, идентификация и шунтирование потоков людей с риском заражения, измерение температуры тела, мытье рук, ношение правильно подобранной (хирургической или N95) маски на протяжении всего процесса, дезинфекция АИП, соблюдение экологической чистоты, хорошая вентиляция помещений с использование кондиционирования воздуха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Пациенты и сопровождающие лица должны использовать бесконтактный диспенсер с </a:t>
            </a:r>
            <a:r>
              <a:rPr lang="ru-RU" sz="1200" dirty="0" err="1"/>
              <a:t>дезинфектантом</a:t>
            </a:r>
            <a:r>
              <a:rPr lang="ru-RU" sz="1200" dirty="0"/>
              <a:t> при входе в диализный зал. Пациенты должны носить медицинские маски и должны избегать приема пищи во время диализа. Они могут принести с собой конфеты, чтобы предотвратить гипогликемию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Пациенты с подозрением на COVID-19 инфекцию  или подтвержденной COVID-19 инфекцией должны быть помещены в изолятор с отрицательным давлением воздуха указанной больницы. Если емкость изолятора перегружена, рекомендуется применение Фиксированной Модели диализной помощи, описанная ниже, в течение 14-дневного периода карантина для тех , кто возможно контактировал с COVID-19.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0000"/>
                </a:solidFill>
              </a:rPr>
              <a:t>Место проведения диализа: пациенты должны продолжать ГД в своем центре и не должны переводится в другой центр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0000"/>
                </a:solidFill>
              </a:rPr>
              <a:t>Диализные смены и персонал: не следует менять диализные смены и персонал чтобы избежать перекрестного заражения и распространения инфекции. Минимизируйте  соответствующие контакты. 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ru-RU" sz="1200" dirty="0"/>
              <a:t>Пациентам, которым требуются хирургические манипуляции с сосудистым доступом должен быть выполнен скрининг на </a:t>
            </a:r>
            <a:r>
              <a:rPr lang="ru-RU" sz="1200" dirty="0" err="1"/>
              <a:t>коронавирус</a:t>
            </a:r>
            <a:r>
              <a:rPr lang="ru-RU" sz="1200" dirty="0"/>
              <a:t> перед операцией. Операции у пациентов с выявленной подтвержденной или подозреваемой </a:t>
            </a:r>
            <a:r>
              <a:rPr lang="ru-RU" sz="1200" dirty="0" err="1"/>
              <a:t>коронавирусной</a:t>
            </a:r>
            <a:r>
              <a:rPr lang="ru-RU" sz="1200" dirty="0"/>
              <a:t> инфекцией следует проводить в предназначенном для этого помещении обеспечивающим необходимую защиту для медицинского персонала. 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ru-RU" sz="1200" dirty="0"/>
              <a:t>Транспорт: общественный транспорт не должен использоваться Пациенты должны организовать личный транспорт и использовать фиксированные транспортные маршруты. Транспортирующий персонал и сопровождающие должны носить хирургические или N95 маски на протяжении всей транспортировки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0480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7283-F1A7-4916-B096-5163DBA927DA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зюме рекомендаций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4"/>
          </p:nvPr>
        </p:nvSpPr>
        <p:spPr>
          <a:xfrm>
            <a:off x="587375" y="740781"/>
            <a:ext cx="11017249" cy="4338600"/>
          </a:xfrm>
          <a:solidFill>
            <a:schemeClr val="accent5">
              <a:lumMod val="40000"/>
              <a:lumOff val="60000"/>
            </a:schemeClr>
          </a:solidFill>
        </p:spPr>
        <p:txBody>
          <a:bodyPr/>
          <a:lstStyle/>
          <a:p>
            <a:pPr marL="35560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FF0000"/>
                </a:solidFill>
              </a:rPr>
              <a:t>Все пациенты с лихорадкой должны быть проверены на наличие новой </a:t>
            </a:r>
            <a:r>
              <a:rPr lang="ru-RU" sz="1200" dirty="0" err="1">
                <a:solidFill>
                  <a:srgbClr val="FF0000"/>
                </a:solidFill>
              </a:rPr>
              <a:t>коронавирусной</a:t>
            </a:r>
            <a:r>
              <a:rPr lang="ru-RU" sz="1200" dirty="0">
                <a:solidFill>
                  <a:srgbClr val="FF0000"/>
                </a:solidFill>
              </a:rPr>
              <a:t> инфекции и должны получать диализ в последнюю смену </a:t>
            </a:r>
            <a:r>
              <a:rPr lang="ru-RU" sz="1200" dirty="0" smtClean="0">
                <a:solidFill>
                  <a:srgbClr val="FF0000"/>
                </a:solidFill>
              </a:rPr>
              <a:t>дня, </a:t>
            </a:r>
            <a:r>
              <a:rPr lang="ru-RU" sz="1200" dirty="0">
                <a:solidFill>
                  <a:srgbClr val="FF0000"/>
                </a:solidFill>
              </a:rPr>
              <a:t>до тех пор пока заражение не будет исключено. 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ru-RU" sz="1200" dirty="0"/>
              <a:t>Пройдите маршрут пациента от входа в больницу и блок диализа: точки посадки  и высадки не должны совпадать с таковыми для обычных диализных пациентов. </a:t>
            </a:r>
            <a:endParaRPr lang="ru-RU" sz="1200" dirty="0" smtClean="0"/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Одновременного </a:t>
            </a:r>
            <a:r>
              <a:rPr lang="ru-RU" sz="1200" dirty="0"/>
              <a:t>входа и выхода с другими пациентами следует избегать. Маршрут, режим, и время транспортировки диализного персонала должны  быть продуманы, отлажены и фиксированы.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ru-RU" sz="1200" dirty="0"/>
              <a:t>Меры предосторожности в отделении диализа: пациенты не должны быть в непосредственной близости; зоны ожидания и залы для лечения должны иметь хорошее кондиционирование и вентиляция, чтобы удалять частицы и капли из воздуха. 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ru-RU" sz="1200" dirty="0"/>
              <a:t>Назначенный обслуживающий персонал: весь персонал участвующий в непосредственном уходе за пациентом должен применять полную защиту, в том числе изолирующую водонепроницаемую одежду с длинными рукавами, шапочки для волос; очки защитные; перчатки; и медицинские маски хирургического уровня или выше). 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ru-RU" sz="1200" dirty="0"/>
              <a:t>Правила гигиены рук должны быть неукоснительно реализованы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Аппараты для диализа: оборудование, которое может вступать в контакт с пациентами или потенциально загрязненный материал следует продезинфицировать в соответствии с стандартными протоколами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Если </a:t>
            </a:r>
            <a:r>
              <a:rPr lang="ru-RU" sz="1200" dirty="0"/>
              <a:t>в центре выявлен недавно подтвержденный или сильно подозрительный случай новой </a:t>
            </a:r>
            <a:r>
              <a:rPr lang="ru-RU" sz="1200" dirty="0" err="1"/>
              <a:t>коронавирусной</a:t>
            </a:r>
            <a:r>
              <a:rPr lang="ru-RU" sz="1200" dirty="0"/>
              <a:t> </a:t>
            </a:r>
            <a:r>
              <a:rPr lang="ru-RU" sz="1200" dirty="0" smtClean="0"/>
              <a:t>инфекции, </a:t>
            </a:r>
            <a:r>
              <a:rPr lang="ru-RU" sz="1200" dirty="0"/>
              <a:t>немедленно должна быть проведена дезинфекция. Пространства, находившиеся в тесном контакте с этими пациентами не следует использовать для других пациентов пока они не дезинфицированы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Медицинские отходы от подтвержденных или подозреваемых пациентов с вновь выявленной </a:t>
            </a:r>
            <a:r>
              <a:rPr lang="ru-RU" sz="1200" dirty="0" err="1"/>
              <a:t>коронавирусной</a:t>
            </a:r>
            <a:r>
              <a:rPr lang="ru-RU" sz="1200" dirty="0"/>
              <a:t> инфекцией должна рассматриваться как инфекционные медицинские отходы и утилизировать соответственно. </a:t>
            </a:r>
          </a:p>
          <a:p>
            <a:endParaRPr lang="ru-RU" sz="1200" dirty="0"/>
          </a:p>
          <a:p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929045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47283-F1A7-4916-B096-5163DBA927DA}" type="datetime1">
              <a:rPr lang="en-US" noProof="0" smtClean="0"/>
              <a:t>4/29/2020</a:t>
            </a:fld>
            <a:endParaRPr lang="en-US" noProof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зюме рекомендаций</a:t>
            </a:r>
            <a:endParaRPr lang="ru-RU" dirty="0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3"/>
          </p:nvPr>
        </p:nvSpPr>
        <p:spPr>
          <a:xfrm>
            <a:off x="587375" y="766300"/>
            <a:ext cx="11016000" cy="435600"/>
          </a:xfrm>
        </p:spPr>
        <p:txBody>
          <a:bodyPr/>
          <a:lstStyle/>
          <a:p>
            <a:r>
              <a:rPr lang="ru-RU" sz="1400" dirty="0"/>
              <a:t>Оперативные стратегии для </a:t>
            </a:r>
            <a:r>
              <a:rPr lang="ru-RU" sz="1400" dirty="0" smtClean="0"/>
              <a:t>членов семьи </a:t>
            </a:r>
            <a:r>
              <a:rPr lang="ru-RU" sz="1400" dirty="0"/>
              <a:t>и опекунов</a:t>
            </a:r>
          </a:p>
          <a:p>
            <a:endParaRPr lang="ru-RU" sz="1400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4"/>
          </p:nvPr>
        </p:nvSpPr>
        <p:spPr>
          <a:xfrm>
            <a:off x="587375" y="1201901"/>
            <a:ext cx="11017249" cy="1708568"/>
          </a:xfrm>
          <a:solidFill>
            <a:schemeClr val="accent5">
              <a:lumMod val="40000"/>
              <a:lumOff val="60000"/>
            </a:schemeClr>
          </a:solidFill>
        </p:spPr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Все члены семьи, живущие с диализными </a:t>
            </a:r>
            <a:r>
              <a:rPr lang="ru-RU" sz="1200" dirty="0" smtClean="0"/>
              <a:t>пациентами, </a:t>
            </a:r>
            <a:r>
              <a:rPr lang="ru-RU" sz="1200" dirty="0"/>
              <a:t>должны соблюдать все меры предосторожности и правила, данные пациентам для предотвращения передачи COVID-19 от человека к человеку  в семье, которые включают измерение температуры тела, соблюдение всех правил личной гигиены, мытье рук и оперативное сообщение о потенциально больных людях.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0000"/>
                </a:solidFill>
              </a:rPr>
              <a:t>Пациенты на диализе, у которых есть семья член или лицо, </a:t>
            </a:r>
            <a:r>
              <a:rPr lang="ru-RU" sz="1200" dirty="0" smtClean="0">
                <a:solidFill>
                  <a:srgbClr val="FF0000"/>
                </a:solidFill>
              </a:rPr>
              <a:t>находящиеся </a:t>
            </a:r>
            <a:r>
              <a:rPr lang="ru-RU" sz="1200" dirty="0">
                <a:solidFill>
                  <a:srgbClr val="FF0000"/>
                </a:solidFill>
              </a:rPr>
              <a:t>в </a:t>
            </a:r>
            <a:r>
              <a:rPr lang="ru-RU" sz="1200" dirty="0" smtClean="0">
                <a:solidFill>
                  <a:srgbClr val="FF0000"/>
                </a:solidFill>
              </a:rPr>
              <a:t>карантине, </a:t>
            </a:r>
            <a:r>
              <a:rPr lang="ru-RU" sz="1200" dirty="0">
                <a:solidFill>
                  <a:srgbClr val="FF0000"/>
                </a:solidFill>
              </a:rPr>
              <a:t>может получать лечение диализом как обычно в течение 14 дней. 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0000"/>
                </a:solidFill>
              </a:rPr>
              <a:t>После того, как член семьи или опекун пациента на диализе получит статус подтвержденного случая инфекции, данные пациента должны быть обновлены и обработаны в соответствии с </a:t>
            </a:r>
            <a:r>
              <a:rPr lang="ru-RU" sz="1200" dirty="0" err="1">
                <a:solidFill>
                  <a:srgbClr val="FF0000"/>
                </a:solidFill>
              </a:rPr>
              <a:t>с</a:t>
            </a:r>
            <a:r>
              <a:rPr lang="ru-RU" sz="1200" dirty="0">
                <a:solidFill>
                  <a:srgbClr val="FF0000"/>
                </a:solidFill>
              </a:rPr>
              <a:t> вышеупомянутыми условиями.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550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7074" y="2592729"/>
            <a:ext cx="2699339" cy="39424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355" y="2223432"/>
            <a:ext cx="2835658" cy="304397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1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980" y="2373947"/>
            <a:ext cx="2849982" cy="256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149" y="1900265"/>
            <a:ext cx="3064831" cy="369030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5BCC1DEA-036D-4AC5-B319-8E63A991BA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A22D53F-F22B-4CA5-A10D-39C73EEC4C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F47283-F1A7-4916-B096-5163DBA927DA}" type="datetime1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9/20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="" xmlns:a16="http://schemas.microsoft.com/office/drawing/2014/main" id="{D95E716A-1D92-4C95-944E-C4F8C7D20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уководящие документы FMC по </a:t>
            </a:r>
            <a:r>
              <a:rPr lang="ru-RU" dirty="0" err="1"/>
              <a:t>россии</a:t>
            </a:r>
            <a:r>
              <a:rPr lang="ru-RU" dirty="0"/>
              <a:t> по организации работы  условиях пандемии </a:t>
            </a:r>
            <a:r>
              <a:rPr lang="ru-RU" dirty="0" err="1"/>
              <a:t>covid</a:t>
            </a:r>
            <a:r>
              <a:rPr lang="ru-RU" dirty="0"/>
              <a:t> 19</a:t>
            </a:r>
            <a:endParaRPr lang="pt-PT" dirty="0"/>
          </a:p>
        </p:txBody>
      </p:sp>
      <p:sp>
        <p:nvSpPr>
          <p:cNvPr id="7" name="Subtitle 6">
            <a:extLst>
              <a:ext uri="{FF2B5EF4-FFF2-40B4-BE49-F238E27FC236}">
                <a16:creationId xmlns="" xmlns:a16="http://schemas.microsoft.com/office/drawing/2014/main" id="{C6056F38-1D55-473F-81E0-CE5E45B08C4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88625" y="1054282"/>
            <a:ext cx="11016000" cy="600898"/>
          </a:xfrm>
        </p:spPr>
        <p:txBody>
          <a:bodyPr/>
          <a:lstStyle/>
          <a:p>
            <a:r>
              <a:rPr lang="ru-RU" dirty="0" smtClean="0">
                <a:solidFill>
                  <a:schemeClr val="accent1"/>
                </a:solidFill>
                <a:latin typeface="Verdana" panose="020B0604030504040204" pitchFamily="34" charset="0"/>
                <a:ea typeface="Calibri" panose="020F0502020204030204" pitchFamily="34" charset="0"/>
              </a:rPr>
              <a:t>Интеграция российских, корпоративных и международных рекомендаций для оформления собственных</a:t>
            </a:r>
            <a:endParaRPr lang="pt-PT" dirty="0"/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C75F9D14-3EE5-46DB-B9D4-4A17D0E56236}"/>
              </a:ext>
            </a:extLst>
          </p:cNvPr>
          <p:cNvSpPr/>
          <p:nvPr/>
        </p:nvSpPr>
        <p:spPr bwMode="gray">
          <a:xfrm>
            <a:off x="1020730" y="3459775"/>
            <a:ext cx="720000" cy="720000"/>
          </a:xfrm>
          <a:prstGeom prst="ellipse">
            <a:avLst/>
          </a:prstGeom>
          <a:solidFill>
            <a:srgbClr val="00B0F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="" xmlns:a16="http://schemas.microsoft.com/office/drawing/2014/main" id="{72D815F0-E2EB-46C5-BFFC-F748491FB5DA}"/>
              </a:ext>
            </a:extLst>
          </p:cNvPr>
          <p:cNvSpPr/>
          <p:nvPr/>
        </p:nvSpPr>
        <p:spPr bwMode="gray">
          <a:xfrm>
            <a:off x="8624237" y="3471434"/>
            <a:ext cx="720000" cy="720000"/>
          </a:xfrm>
          <a:prstGeom prst="ellipse">
            <a:avLst/>
          </a:prstGeom>
          <a:solidFill>
            <a:srgbClr val="00B0F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=</a:t>
            </a: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880E6D9F-A807-406D-A970-C91D7450D085}"/>
              </a:ext>
            </a:extLst>
          </p:cNvPr>
          <p:cNvSpPr/>
          <p:nvPr/>
        </p:nvSpPr>
        <p:spPr bwMode="gray">
          <a:xfrm>
            <a:off x="2557359" y="3462404"/>
            <a:ext cx="720000" cy="720000"/>
          </a:xfrm>
          <a:prstGeom prst="ellipse">
            <a:avLst/>
          </a:prstGeom>
          <a:solidFill>
            <a:srgbClr val="00B0F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</a:t>
            </a:r>
            <a:endParaRPr kumimoji="0" lang="pt-PT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="" xmlns:a16="http://schemas.microsoft.com/office/drawing/2014/main" id="{2D1D19C9-2F2A-4D72-9564-2275FEC4C96B}"/>
              </a:ext>
            </a:extLst>
          </p:cNvPr>
          <p:cNvSpPr/>
          <p:nvPr/>
        </p:nvSpPr>
        <p:spPr bwMode="gray">
          <a:xfrm>
            <a:off x="10029257" y="3471434"/>
            <a:ext cx="720000" cy="720000"/>
          </a:xfrm>
          <a:prstGeom prst="ellipse">
            <a:avLst/>
          </a:prstGeom>
          <a:solidFill>
            <a:srgbClr val="00B0F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3451EB58-D1C2-4CE0-9B3E-2A6AAF47FBED}"/>
              </a:ext>
            </a:extLst>
          </p:cNvPr>
          <p:cNvSpPr/>
          <p:nvPr/>
        </p:nvSpPr>
        <p:spPr bwMode="gray">
          <a:xfrm>
            <a:off x="4143731" y="3459775"/>
            <a:ext cx="720000" cy="720000"/>
          </a:xfrm>
          <a:prstGeom prst="ellipse">
            <a:avLst/>
          </a:prstGeom>
          <a:solidFill>
            <a:srgbClr val="00B0F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24" name="Oval 21">
            <a:extLst>
              <a:ext uri="{FF2B5EF4-FFF2-40B4-BE49-F238E27FC236}">
                <a16:creationId xmlns="" xmlns:a16="http://schemas.microsoft.com/office/drawing/2014/main" id="{880E6D9F-A807-406D-A970-C91D7450D085}"/>
              </a:ext>
            </a:extLst>
          </p:cNvPr>
          <p:cNvSpPr/>
          <p:nvPr/>
        </p:nvSpPr>
        <p:spPr bwMode="gray">
          <a:xfrm>
            <a:off x="5777049" y="3471434"/>
            <a:ext cx="720000" cy="720000"/>
          </a:xfrm>
          <a:prstGeom prst="ellipse">
            <a:avLst/>
          </a:prstGeom>
          <a:solidFill>
            <a:srgbClr val="00B0F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</a:t>
            </a:r>
            <a:endParaRPr kumimoji="0" lang="pt-PT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Oval 18">
            <a:extLst>
              <a:ext uri="{FF2B5EF4-FFF2-40B4-BE49-F238E27FC236}">
                <a16:creationId xmlns="" xmlns:a16="http://schemas.microsoft.com/office/drawing/2014/main" id="{3451EB58-D1C2-4CE0-9B3E-2A6AAF47FBED}"/>
              </a:ext>
            </a:extLst>
          </p:cNvPr>
          <p:cNvSpPr/>
          <p:nvPr/>
        </p:nvSpPr>
        <p:spPr bwMode="gray">
          <a:xfrm>
            <a:off x="7307184" y="3471434"/>
            <a:ext cx="720000" cy="720000"/>
          </a:xfrm>
          <a:prstGeom prst="ellipse">
            <a:avLst/>
          </a:prstGeom>
          <a:solidFill>
            <a:srgbClr val="00B0F0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47767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Руководящие документы </a:t>
            </a:r>
            <a:r>
              <a:rPr lang="en-US" sz="2000" dirty="0" smtClean="0"/>
              <a:t>FMC</a:t>
            </a:r>
            <a:r>
              <a:rPr lang="ru-RU" sz="2000" dirty="0" smtClean="0"/>
              <a:t> по </a:t>
            </a:r>
            <a:r>
              <a:rPr lang="ru-RU" sz="2000" dirty="0" err="1" smtClean="0"/>
              <a:t>россии</a:t>
            </a:r>
            <a:r>
              <a:rPr lang="ru-RU" sz="2000" dirty="0" smtClean="0"/>
              <a:t> </a:t>
            </a:r>
            <a:r>
              <a:rPr lang="ru-RU" sz="2000" dirty="0"/>
              <a:t>по организации работы  условиях пандемии </a:t>
            </a:r>
            <a:r>
              <a:rPr lang="ru-RU" sz="2000" dirty="0" err="1"/>
              <a:t>covid</a:t>
            </a:r>
            <a:r>
              <a:rPr lang="ru-RU" sz="2000" dirty="0"/>
              <a:t> 19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US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pic>
        <p:nvPicPr>
          <p:cNvPr id="337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064" y="941630"/>
            <a:ext cx="3731375" cy="529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379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3563" y="1080310"/>
            <a:ext cx="3647993" cy="53086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379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9780" y="1136155"/>
            <a:ext cx="3696633" cy="539903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5685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7894" y="264611"/>
            <a:ext cx="11218332" cy="855133"/>
          </a:xfrm>
        </p:spPr>
        <p:txBody>
          <a:bodyPr/>
          <a:lstStyle/>
          <a:p>
            <a:r>
              <a:rPr lang="ru-RU" sz="1800" dirty="0" smtClean="0"/>
              <a:t>Оперативная </a:t>
            </a:r>
            <a:r>
              <a:rPr lang="ru-RU" sz="1800" dirty="0"/>
              <a:t>готовность к выявлению случаев новой </a:t>
            </a:r>
            <a:r>
              <a:rPr lang="ru-RU" sz="1800" dirty="0" err="1"/>
              <a:t>короновирусной</a:t>
            </a:r>
            <a:r>
              <a:rPr lang="ru-RU" sz="1800" dirty="0"/>
              <a:t> инфекции (COVID-19) и </a:t>
            </a:r>
            <a:r>
              <a:rPr lang="ru-RU" sz="1800" dirty="0" smtClean="0"/>
              <a:t>организации </a:t>
            </a:r>
            <a:r>
              <a:rPr lang="ru-RU" sz="1800" dirty="0"/>
              <a:t>первичных противоэпидемических мероприятий </a:t>
            </a:r>
            <a:r>
              <a:rPr lang="ru-RU" sz="1800" dirty="0" smtClean="0"/>
              <a:t>в ДЦ</a:t>
            </a:r>
            <a:r>
              <a:rPr lang="en-US" sz="1800" dirty="0" smtClean="0"/>
              <a:t> FMC</a:t>
            </a:r>
            <a:r>
              <a:rPr lang="ru-RU" sz="1800" dirty="0" smtClean="0"/>
              <a:t> </a:t>
            </a:r>
            <a:endParaRPr lang="ru-RU" sz="1800" dirty="0"/>
          </a:p>
        </p:txBody>
      </p:sp>
      <p:pic>
        <p:nvPicPr>
          <p:cNvPr id="6" name="Объект 5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410901" y="1162172"/>
            <a:ext cx="5417028" cy="1264859"/>
          </a:xfrm>
          <a:prstGeom prst="rect">
            <a:avLst/>
          </a:prstGeom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043" y="1244301"/>
            <a:ext cx="5740968" cy="110060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 bwMode="gray">
          <a:xfrm>
            <a:off x="405115" y="2754775"/>
            <a:ext cx="11453148" cy="323165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Разработка и согласование </a:t>
            </a:r>
            <a:r>
              <a:rPr lang="ru-RU" sz="1400" dirty="0"/>
              <a:t>схем маршрутизации подозрительных на заболевание </a:t>
            </a:r>
            <a:r>
              <a:rPr lang="en-US" sz="1400" dirty="0" smtClean="0"/>
              <a:t>COVID-19</a:t>
            </a:r>
            <a:r>
              <a:rPr lang="ru-RU" sz="1400" dirty="0" smtClean="0"/>
              <a:t> больных и персонал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Разработка и доведение до персонала алгоритмов действия каждого сотрудника соответственно ситуаци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Своевременное выявление лиц, подозрительных на заболевание </a:t>
            </a:r>
            <a:r>
              <a:rPr lang="en-US" sz="1400" dirty="0"/>
              <a:t>COVID-19</a:t>
            </a:r>
            <a:r>
              <a:rPr lang="ru-RU" sz="1400" dirty="0"/>
              <a:t>, среди больных центра диализа и персонала 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Реорганизация работы центра диализа в условиях эпидемии </a:t>
            </a:r>
            <a:r>
              <a:rPr lang="en-US" sz="1400" dirty="0" smtClean="0"/>
              <a:t>COVID-19</a:t>
            </a:r>
            <a:endParaRPr lang="ru-RU" sz="1400" dirty="0" smtClean="0"/>
          </a:p>
          <a:p>
            <a:pPr marL="539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одготовка помещения и выделение персонала для проведения диализа карантинным больным</a:t>
            </a:r>
            <a:endParaRPr lang="ru-RU" sz="1400" dirty="0"/>
          </a:p>
          <a:p>
            <a:pPr marL="539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Разработка маршрутов и графиков работы внутри центра для исключения контактов потенциально инфицированных больных с остальными</a:t>
            </a:r>
          </a:p>
          <a:p>
            <a:pPr marL="539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Внедрение максимально безопасного режима работы диализного центра для больных и персонала (средства индивидуальной защиты, гигиена, режим питания и др.)</a:t>
            </a:r>
          </a:p>
          <a:p>
            <a:pPr marL="539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роведение специальных занятий с персоналом по профилактике и организации работы в </a:t>
            </a:r>
            <a:r>
              <a:rPr lang="ru-RU" sz="1400" dirty="0"/>
              <a:t>условиях эпидемии </a:t>
            </a:r>
            <a:r>
              <a:rPr lang="en-US" sz="1400" dirty="0" smtClean="0"/>
              <a:t>COVID-19</a:t>
            </a:r>
            <a:endParaRPr lang="ru-RU" sz="1400" dirty="0" smtClean="0"/>
          </a:p>
          <a:p>
            <a:pPr marL="539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Создание необходимых запасов средств индивидуальной защиты, </a:t>
            </a:r>
            <a:r>
              <a:rPr lang="ru-RU" sz="1400" dirty="0" err="1" smtClean="0"/>
              <a:t>дезинфектантов</a:t>
            </a:r>
            <a:r>
              <a:rPr lang="ru-RU" sz="1400" dirty="0" smtClean="0"/>
              <a:t>.</a:t>
            </a:r>
          </a:p>
          <a:p>
            <a:pPr marL="539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Внедрение организации безопасной </a:t>
            </a:r>
            <a:r>
              <a:rPr lang="ru-RU" sz="1400" dirty="0"/>
              <a:t>доставки потенциально инфицированных </a:t>
            </a:r>
            <a:r>
              <a:rPr lang="ru-RU" sz="1400" dirty="0" smtClean="0"/>
              <a:t>больных в центр и из него</a:t>
            </a:r>
          </a:p>
          <a:p>
            <a:pPr marL="539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Доведение необходимой информации и размещение постеров для больных</a:t>
            </a:r>
          </a:p>
        </p:txBody>
      </p:sp>
    </p:spTree>
    <p:extLst>
      <p:ext uri="{BB962C8B-B14F-4D97-AF65-F5344CB8AC3E}">
        <p14:creationId xmlns:p14="http://schemas.microsoft.com/office/powerpoint/2010/main" val="339553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3553" y="341434"/>
            <a:ext cx="10851131" cy="866987"/>
          </a:xfrm>
        </p:spPr>
        <p:txBody>
          <a:bodyPr/>
          <a:lstStyle/>
          <a:p>
            <a:r>
              <a:rPr lang="ru-RU" sz="2000" dirty="0" smtClean="0"/>
              <a:t>Временные методические рекомендации «Профилактика, диагностика и лечение новой </a:t>
            </a:r>
            <a:r>
              <a:rPr lang="ru-RU" sz="2000" dirty="0" err="1" smtClean="0"/>
              <a:t>коронавирусной</a:t>
            </a:r>
            <a:r>
              <a:rPr lang="ru-RU" sz="2000" dirty="0"/>
              <a:t> инфекции </a:t>
            </a:r>
            <a:r>
              <a:rPr lang="ru-RU" sz="2000" dirty="0" smtClean="0"/>
              <a:t>COVID-19»</a:t>
            </a:r>
            <a:endParaRPr lang="ru-RU" sz="2000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2"/>
          </p:nvPr>
        </p:nvSpPr>
        <p:spPr>
          <a:xfrm>
            <a:off x="480000" y="1440000"/>
            <a:ext cx="11280000" cy="1789337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SARS-CoV-2 включен в перечень заболеваний, представляющих</a:t>
            </a:r>
          </a:p>
          <a:p>
            <a:r>
              <a:rPr lang="ru-RU" sz="1400" dirty="0"/>
              <a:t>опасность для окружающих (Постановление Правительства РФ от 31 </a:t>
            </a:r>
            <a:r>
              <a:rPr lang="ru-RU" sz="1400" dirty="0" smtClean="0"/>
              <a:t>января</a:t>
            </a:r>
            <a:r>
              <a:rPr lang="en-US" sz="1400" dirty="0" smtClean="0"/>
              <a:t> </a:t>
            </a:r>
            <a:r>
              <a:rPr lang="ru-RU" sz="1400" dirty="0" smtClean="0"/>
              <a:t>2020 </a:t>
            </a:r>
            <a:r>
              <a:rPr lang="ru-RU" sz="1400" dirty="0"/>
              <a:t>г. № 66</a:t>
            </a:r>
            <a:r>
              <a:rPr lang="ru-RU" sz="1400" dirty="0" smtClean="0"/>
              <a:t>).</a:t>
            </a: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Установлена роль COVID-19, как инфекции, связанной с </a:t>
            </a:r>
            <a:r>
              <a:rPr lang="ru-RU" sz="1400" dirty="0" smtClean="0"/>
              <a:t>оказанием</a:t>
            </a:r>
            <a:r>
              <a:rPr lang="en-US" sz="1400" dirty="0" smtClean="0"/>
              <a:t> </a:t>
            </a:r>
            <a:r>
              <a:rPr lang="ru-RU" sz="1400" dirty="0" smtClean="0"/>
              <a:t>медицинской помощ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С целью предотвращения заноса и распространения новой </a:t>
            </a:r>
            <a:r>
              <a:rPr lang="ru-RU" sz="1400" dirty="0" err="1" smtClean="0"/>
              <a:t>коронавирусной</a:t>
            </a:r>
            <a:r>
              <a:rPr lang="ru-RU" sz="1400" dirty="0" smtClean="0"/>
              <a:t> инфекции в ДЦ, важно раннее выявление подозрительных и вероятных случаев среди пациентов и персонала.</a:t>
            </a:r>
            <a:endParaRPr lang="ru-RU" sz="140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1531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9933" y="-463989"/>
            <a:ext cx="11598877" cy="1008999"/>
          </a:xfrm>
        </p:spPr>
        <p:txBody>
          <a:bodyPr/>
          <a:lstStyle/>
          <a:p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Стандартное </a:t>
            </a:r>
            <a:r>
              <a:rPr lang="ru-RU" sz="2000" dirty="0"/>
              <a:t>определение случая заболевания </a:t>
            </a:r>
            <a:r>
              <a:rPr lang="ru-RU" sz="2000" dirty="0" smtClean="0"/>
              <a:t>COVID-19</a:t>
            </a:r>
            <a:r>
              <a:rPr lang="ru-RU" sz="2000" dirty="0"/>
              <a:t>: Подозрительный на </a:t>
            </a:r>
            <a:r>
              <a:rPr lang="en-US" sz="2000" dirty="0"/>
              <a:t>COVID-19 </a:t>
            </a:r>
            <a:r>
              <a:rPr lang="ru-RU" sz="2000" dirty="0"/>
              <a:t>случай</a:t>
            </a:r>
            <a:br>
              <a:rPr lang="ru-RU" sz="2000" dirty="0"/>
            </a:br>
            <a:r>
              <a:rPr lang="ru-RU" sz="2000" dirty="0"/>
              <a:t> </a:t>
            </a:r>
            <a:br>
              <a:rPr lang="ru-RU" sz="2000" dirty="0"/>
            </a:br>
            <a:endParaRPr lang="ru-RU" sz="2000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2"/>
          </p:nvPr>
        </p:nvSpPr>
        <p:spPr>
          <a:xfrm>
            <a:off x="456000" y="1222524"/>
            <a:ext cx="11280000" cy="2464014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Клинические проявления острой респираторной инфекции:</a:t>
            </a:r>
            <a:endParaRPr lang="ru-RU" sz="1400" dirty="0"/>
          </a:p>
          <a:p>
            <a:pPr marL="539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температура </a:t>
            </a:r>
            <a:r>
              <a:rPr lang="ru-RU" sz="1400" dirty="0"/>
              <a:t>тела выше 37,5 °C и один или более из </a:t>
            </a:r>
            <a:r>
              <a:rPr lang="ru-RU" sz="1400" dirty="0" smtClean="0"/>
              <a:t>следующих признаков</a:t>
            </a:r>
            <a:r>
              <a:rPr lang="ru-RU" sz="1400" dirty="0"/>
              <a:t>: </a:t>
            </a:r>
            <a:endParaRPr lang="ru-RU" sz="1400" dirty="0" smtClean="0"/>
          </a:p>
          <a:p>
            <a:pPr marL="719138" indent="-285750" defTabSz="896938">
              <a:buFont typeface="Arial" panose="020B0604020202020204" pitchFamily="34" charset="0"/>
              <a:buChar char="•"/>
            </a:pPr>
            <a:r>
              <a:rPr lang="ru-RU" sz="1400" dirty="0" smtClean="0"/>
              <a:t>кашель</a:t>
            </a:r>
            <a:r>
              <a:rPr lang="ru-RU" sz="1400" dirty="0"/>
              <a:t>, одышка, ощущение заложенности в грудной клетке</a:t>
            </a:r>
            <a:r>
              <a:rPr lang="ru-RU" sz="1400" dirty="0" smtClean="0"/>
              <a:t>, </a:t>
            </a:r>
          </a:p>
          <a:p>
            <a:pPr marL="719138" indent="-285750" defTabSz="896938">
              <a:buFont typeface="Arial" panose="020B0604020202020204" pitchFamily="34" charset="0"/>
              <a:buChar char="•"/>
            </a:pPr>
            <a:r>
              <a:rPr lang="ru-RU" sz="1400" dirty="0" smtClean="0"/>
              <a:t>насыщение </a:t>
            </a:r>
            <a:r>
              <a:rPr lang="ru-RU" sz="1400" dirty="0"/>
              <a:t>крови кислородом по данным </a:t>
            </a:r>
            <a:r>
              <a:rPr lang="ru-RU" sz="1400" dirty="0" err="1"/>
              <a:t>пульсоксиметрии</a:t>
            </a:r>
            <a:r>
              <a:rPr lang="ru-RU" sz="1400" dirty="0"/>
              <a:t> (SpO2</a:t>
            </a:r>
            <a:r>
              <a:rPr lang="ru-RU" sz="1400" dirty="0" smtClean="0"/>
              <a:t>) </a:t>
            </a:r>
            <a:r>
              <a:rPr lang="ru-RU" sz="1400" dirty="0"/>
              <a:t>95</a:t>
            </a:r>
            <a:r>
              <a:rPr lang="ru-RU" sz="1400" dirty="0" smtClean="0"/>
              <a:t>%, </a:t>
            </a:r>
          </a:p>
          <a:p>
            <a:pPr marL="719138" indent="-285750" defTabSz="896938">
              <a:buFont typeface="Arial" panose="020B0604020202020204" pitchFamily="34" charset="0"/>
              <a:buChar char="•"/>
            </a:pPr>
            <a:r>
              <a:rPr lang="ru-RU" sz="1400" dirty="0" smtClean="0"/>
              <a:t>боль в горле, насморк, снижение обоняния и вкуса</a:t>
            </a:r>
            <a:r>
              <a:rPr lang="ru-RU" sz="1400" dirty="0"/>
              <a:t>,</a:t>
            </a:r>
          </a:p>
          <a:p>
            <a:pPr marL="719138" indent="-285750" defTabSz="896938">
              <a:buFont typeface="Arial" panose="020B0604020202020204" pitchFamily="34" charset="0"/>
              <a:buChar char="•"/>
            </a:pPr>
            <a:r>
              <a:rPr lang="ru-RU" sz="1400" dirty="0"/>
              <a:t>п</a:t>
            </a:r>
            <a:r>
              <a:rPr lang="ru-RU" sz="1400" dirty="0" smtClean="0"/>
              <a:t>ризнаки конъюнктивита</a:t>
            </a:r>
            <a:r>
              <a:rPr lang="ru-RU" sz="1400" dirty="0"/>
              <a:t>) при отсутствии других известных причин, </a:t>
            </a:r>
            <a:r>
              <a:rPr lang="ru-RU" sz="1400" dirty="0" smtClean="0"/>
              <a:t>которые </a:t>
            </a:r>
            <a:r>
              <a:rPr lang="ru-RU" sz="1400" dirty="0"/>
              <a:t>объясняют клиническую картину вне зависимости от </a:t>
            </a:r>
            <a:r>
              <a:rPr lang="ru-RU" sz="1400" dirty="0" smtClean="0"/>
              <a:t>эпидемиологического анамнеза</a:t>
            </a:r>
            <a:r>
              <a:rPr lang="ru-RU" sz="1400" dirty="0"/>
              <a:t>.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64011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Стандартное определение случая заболевания </a:t>
            </a:r>
            <a:r>
              <a:rPr lang="ru-RU" sz="2000" dirty="0" smtClean="0"/>
              <a:t>COVID-19: Вероятный </a:t>
            </a:r>
            <a:r>
              <a:rPr lang="ru-RU" sz="2000" dirty="0"/>
              <a:t>случай COVID-19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2"/>
          </p:nvPr>
        </p:nvSpPr>
        <p:spPr>
          <a:xfrm>
            <a:off x="376177" y="1121790"/>
            <a:ext cx="11482086" cy="4584530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r>
              <a:rPr lang="ru-RU" sz="1400" b="1" dirty="0" smtClean="0"/>
              <a:t>      </a:t>
            </a:r>
            <a:endParaRPr lang="ru-RU" sz="1400" b="1" dirty="0"/>
          </a:p>
          <a:p>
            <a:pPr marL="342900" indent="-342900">
              <a:buFont typeface="+mj-lt"/>
              <a:buAutoNum type="arabicPeriod"/>
            </a:pPr>
            <a:r>
              <a:rPr lang="ru-RU" sz="1400" dirty="0" smtClean="0"/>
              <a:t>Клинические проявления острой респираторной инфекции</a:t>
            </a:r>
            <a:endParaRPr lang="ru-RU" sz="1400" dirty="0"/>
          </a:p>
          <a:p>
            <a:pPr marL="539750" indent="-342900">
              <a:buFont typeface="Arial" panose="020B0604020202020204" pitchFamily="34" charset="0"/>
              <a:buChar char="•"/>
            </a:pPr>
            <a:r>
              <a:rPr lang="ru-RU" sz="1400" dirty="0" smtClean="0"/>
              <a:t>температура </a:t>
            </a:r>
            <a:r>
              <a:rPr lang="ru-RU" sz="1400" dirty="0"/>
              <a:t>тела выше 37,5 °C и один или более признаков: кашель</a:t>
            </a:r>
            <a:r>
              <a:rPr lang="ru-RU" sz="1400" dirty="0" smtClean="0"/>
              <a:t>, одышка</a:t>
            </a:r>
            <a:r>
              <a:rPr lang="ru-RU" sz="1400" dirty="0"/>
              <a:t>, ощущение заложенности в грудной клетке, насыщение </a:t>
            </a:r>
            <a:r>
              <a:rPr lang="ru-RU" sz="1400" dirty="0" smtClean="0"/>
              <a:t>крови кислородом </a:t>
            </a:r>
            <a:r>
              <a:rPr lang="ru-RU" sz="1400" dirty="0"/>
              <a:t>по данным </a:t>
            </a:r>
            <a:r>
              <a:rPr lang="ru-RU" sz="1400" dirty="0" err="1"/>
              <a:t>пульсоксиметрии</a:t>
            </a:r>
            <a:r>
              <a:rPr lang="ru-RU" sz="1400" dirty="0"/>
              <a:t> (SpO2) </a:t>
            </a:r>
            <a:r>
              <a:rPr lang="ru-RU" sz="1400" dirty="0" smtClean="0"/>
              <a:t>94</a:t>
            </a:r>
            <a:r>
              <a:rPr lang="ru-RU" sz="1400" dirty="0"/>
              <a:t>%, боль в горле</a:t>
            </a:r>
            <a:r>
              <a:rPr lang="ru-RU" sz="1400" dirty="0" smtClean="0"/>
              <a:t>, насморк</a:t>
            </a:r>
            <a:r>
              <a:rPr lang="ru-RU" sz="1400" dirty="0"/>
              <a:t>, снижение обоняния и вкуса, признаки конъюнктивита) </a:t>
            </a:r>
            <a:r>
              <a:rPr lang="ru-RU" sz="1400" dirty="0" smtClean="0"/>
              <a:t>при наличии </a:t>
            </a:r>
            <a:r>
              <a:rPr lang="ru-RU" sz="1400" dirty="0"/>
              <a:t>хотя бы одного из </a:t>
            </a:r>
            <a:r>
              <a:rPr lang="ru-RU" sz="1400" dirty="0" smtClean="0"/>
              <a:t>эпидемиологических </a:t>
            </a:r>
            <a:r>
              <a:rPr lang="ru-RU" sz="1400" dirty="0"/>
              <a:t>признаков:</a:t>
            </a:r>
          </a:p>
          <a:p>
            <a:pPr marL="806450" indent="-342900">
              <a:buFont typeface="Arial" panose="020B0604020202020204" pitchFamily="34" charset="0"/>
              <a:buChar char="•"/>
            </a:pPr>
            <a:r>
              <a:rPr lang="ru-RU" sz="1400" dirty="0" smtClean="0"/>
              <a:t>возвращение </a:t>
            </a:r>
            <a:r>
              <a:rPr lang="ru-RU" sz="1400" dirty="0"/>
              <a:t>из зарубежной поездки за 14 дней до </a:t>
            </a:r>
            <a:r>
              <a:rPr lang="ru-RU" sz="1400" dirty="0" smtClean="0"/>
              <a:t>появления симптомов</a:t>
            </a:r>
            <a:r>
              <a:rPr lang="ru-RU" sz="1400" dirty="0"/>
              <a:t>;</a:t>
            </a:r>
          </a:p>
          <a:p>
            <a:pPr marL="806450" indent="-342900">
              <a:buFont typeface="Arial" panose="020B0604020202020204" pitchFamily="34" charset="0"/>
              <a:buChar char="•"/>
            </a:pPr>
            <a:r>
              <a:rPr lang="ru-RU" sz="1400" dirty="0" smtClean="0"/>
              <a:t>наличие </a:t>
            </a:r>
            <a:r>
              <a:rPr lang="ru-RU" sz="1400" dirty="0"/>
              <a:t>тесных контактов за последние 14 дней с лицом, </a:t>
            </a:r>
            <a:r>
              <a:rPr lang="ru-RU" sz="1400" dirty="0" smtClean="0"/>
              <a:t>находящимся под </a:t>
            </a:r>
            <a:r>
              <a:rPr lang="ru-RU" sz="1400" dirty="0"/>
              <a:t>наблюдением по COVID-19, который в последующем заболел;</a:t>
            </a:r>
          </a:p>
          <a:p>
            <a:pPr marL="806450" indent="-342900">
              <a:buFont typeface="Arial" panose="020B0604020202020204" pitchFamily="34" charset="0"/>
              <a:buChar char="•"/>
            </a:pPr>
            <a:r>
              <a:rPr lang="ru-RU" sz="1400" dirty="0" smtClean="0"/>
              <a:t>наличие </a:t>
            </a:r>
            <a:r>
              <a:rPr lang="ru-RU" sz="1400" dirty="0"/>
              <a:t>тесных контактов за последние 14 дней с лицом, у которого лабораторно подтвержден диагноз COVID-19.</a:t>
            </a:r>
          </a:p>
          <a:p>
            <a:pPr marL="806450" indent="-342900">
              <a:buFont typeface="Arial" panose="020B0604020202020204" pitchFamily="34" charset="0"/>
              <a:buChar char="•"/>
            </a:pPr>
            <a:r>
              <a:rPr lang="ru-RU" sz="1400" dirty="0" smtClean="0"/>
              <a:t>работа </a:t>
            </a:r>
            <a:r>
              <a:rPr lang="ru-RU" sz="1400" dirty="0"/>
              <a:t>с больными с подтвержденными и подозрительными </a:t>
            </a:r>
            <a:r>
              <a:rPr lang="ru-RU" sz="1400" dirty="0" smtClean="0"/>
              <a:t>случаями COVID-19</a:t>
            </a:r>
          </a:p>
          <a:p>
            <a:pPr marL="342900" indent="-342900">
              <a:buFont typeface="+mj-lt"/>
              <a:buAutoNum type="arabicPeriod" startAt="2"/>
            </a:pPr>
            <a:r>
              <a:rPr lang="ru-RU" sz="1400" dirty="0" smtClean="0"/>
              <a:t>Наличие </a:t>
            </a:r>
            <a:r>
              <a:rPr lang="ru-RU" sz="1400" dirty="0"/>
              <a:t>клинических проявлений тяжелой пневмонии, ОРДС, сепсиса или наличие пневмонии с характерными изменениями в легких по данным компьютерной томографии или обзорной рентгенографии органов грудной клетки (см. пункт 3.1 и приложение 1 настоящих рекомендаций) вне зависимости от результатов лабораторного исследования на наличие РНК SARS-CoV-2 методом  ПЦР и эпидемиологического анамнеза.</a:t>
            </a:r>
          </a:p>
          <a:p>
            <a:pPr marL="342900" indent="-342900">
              <a:buFont typeface="+mj-lt"/>
              <a:buAutoNum type="arabicPeriod" startAt="2"/>
            </a:pPr>
            <a:r>
              <a:rPr lang="ru-RU" sz="1400" dirty="0" smtClean="0"/>
              <a:t>Подозрительный </a:t>
            </a:r>
            <a:r>
              <a:rPr lang="ru-RU" sz="1400" dirty="0"/>
              <a:t>на COVID-19 случай при невозможности проведения лабораторного исследования на наличие РНК SARS-CoV-2 методом ПЦР.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85777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Стандартное определение случая заболевания </a:t>
            </a:r>
            <a:r>
              <a:rPr lang="ru-RU" sz="2000" dirty="0" smtClean="0"/>
              <a:t>COVID-19: Подтвержденный </a:t>
            </a:r>
            <a:r>
              <a:rPr lang="ru-RU" sz="2000" dirty="0"/>
              <a:t>случай COVID-19</a:t>
            </a:r>
            <a:br>
              <a:rPr lang="ru-RU" sz="2000" dirty="0"/>
            </a:br>
            <a:endParaRPr lang="ru-RU" sz="2000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2"/>
          </p:nvPr>
        </p:nvSpPr>
        <p:spPr>
          <a:xfrm>
            <a:off x="405114" y="1208125"/>
            <a:ext cx="11262167" cy="2241132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оложительный </a:t>
            </a:r>
            <a:r>
              <a:rPr lang="ru-RU" sz="1400" dirty="0"/>
              <a:t>результат лабораторного исследования на наличие </a:t>
            </a:r>
            <a:r>
              <a:rPr lang="ru-RU" sz="1400" dirty="0" smtClean="0"/>
              <a:t>РНК SARS-CoV-2 </a:t>
            </a:r>
            <a:r>
              <a:rPr lang="ru-RU" sz="1400" dirty="0"/>
              <a:t>методом полимеразной цепной реакции (ПЦР) вне </a:t>
            </a:r>
            <a:r>
              <a:rPr lang="ru-RU" sz="1400" dirty="0" smtClean="0"/>
              <a:t>зависимости от </a:t>
            </a:r>
            <a:r>
              <a:rPr lang="ru-RU" sz="1400" dirty="0"/>
              <a:t>клинических проявлений</a:t>
            </a:r>
            <a:r>
              <a:rPr lang="ru-RU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539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римечание. Все </a:t>
            </a:r>
            <a:r>
              <a:rPr lang="ru-RU" sz="1400" dirty="0"/>
              <a:t>образцы, полученные для лабораторного исследования, </a:t>
            </a:r>
            <a:r>
              <a:rPr lang="ru-RU" sz="1400" dirty="0" smtClean="0"/>
              <a:t>следует считать </a:t>
            </a:r>
            <a:r>
              <a:rPr lang="ru-RU" sz="1400" dirty="0"/>
              <a:t>потенциально инфекционными и при работе с ними </a:t>
            </a:r>
            <a:r>
              <a:rPr lang="ru-RU" sz="1400" dirty="0" smtClean="0"/>
              <a:t>должны соблюдаться </a:t>
            </a:r>
            <a:r>
              <a:rPr lang="ru-RU" sz="1400" dirty="0"/>
              <a:t>требования СП 1.3.3118-13 ≪Безопасность работы </a:t>
            </a:r>
            <a:r>
              <a:rPr lang="ru-RU" sz="1400" dirty="0" smtClean="0"/>
              <a:t>с микроорганизмами </a:t>
            </a:r>
            <a:r>
              <a:rPr lang="ru-RU" sz="1400" dirty="0"/>
              <a:t>I - II групп патогенности (опасности)≫. </a:t>
            </a:r>
            <a:r>
              <a:rPr lang="ru-RU" sz="1400" dirty="0" smtClean="0"/>
              <a:t>Медицинские работники</a:t>
            </a:r>
            <a:r>
              <a:rPr lang="ru-RU" sz="1400" dirty="0"/>
              <a:t>, которые собирают или транспортируют клинические образцы </a:t>
            </a:r>
            <a:r>
              <a:rPr lang="ru-RU" sz="1400" dirty="0" smtClean="0"/>
              <a:t>в лабораторию</a:t>
            </a:r>
            <a:r>
              <a:rPr lang="ru-RU" sz="1400" dirty="0"/>
              <a:t>, должны быть обучены практике безопасного обращения </a:t>
            </a:r>
            <a:r>
              <a:rPr lang="ru-RU" sz="1400" dirty="0" smtClean="0"/>
              <a:t>с биоматериалом</a:t>
            </a:r>
            <a:r>
              <a:rPr lang="ru-RU" sz="1400" dirty="0"/>
              <a:t>, строго соблюдать меры предосторожности и </a:t>
            </a:r>
            <a:r>
              <a:rPr lang="ru-RU" sz="1400" dirty="0" smtClean="0"/>
              <a:t>использовать средства </a:t>
            </a:r>
            <a:r>
              <a:rPr lang="ru-RU" sz="1400" dirty="0"/>
              <a:t>индивидуальной защиты (СИЗ).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7352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4737" y="207910"/>
            <a:ext cx="11017249" cy="720081"/>
          </a:xfrm>
        </p:spPr>
        <p:txBody>
          <a:bodyPr/>
          <a:lstStyle/>
          <a:p>
            <a:r>
              <a:rPr lang="ru-RU" sz="2400" dirty="0" smtClean="0"/>
              <a:t>Руководящие документы МЗ РФ по организации работы  условиях пандемии </a:t>
            </a:r>
            <a:r>
              <a:rPr lang="en-US" sz="2400" dirty="0" err="1" smtClean="0"/>
              <a:t>covid</a:t>
            </a:r>
            <a:r>
              <a:rPr lang="en-US" sz="2400" dirty="0" smtClean="0"/>
              <a:t> 19</a:t>
            </a:r>
            <a:endParaRPr lang="ru-RU" sz="2400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US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150" y="927991"/>
            <a:ext cx="4200525" cy="5057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0317" y="1062193"/>
            <a:ext cx="3602028" cy="5199217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7186" y="1326994"/>
            <a:ext cx="4156121" cy="51239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1901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5249" y="305564"/>
            <a:ext cx="11017249" cy="720081"/>
          </a:xfrm>
        </p:spPr>
        <p:txBody>
          <a:bodyPr/>
          <a:lstStyle/>
          <a:p>
            <a:r>
              <a:rPr lang="ru-RU" dirty="0" smtClean="0"/>
              <a:t>Маршрутизация больных в диализных центрах </a:t>
            </a:r>
            <a:r>
              <a:rPr lang="en-US" dirty="0" smtClean="0"/>
              <a:t>FMC </a:t>
            </a:r>
            <a:r>
              <a:rPr lang="ru-RU" dirty="0" smtClean="0"/>
              <a:t> в </a:t>
            </a:r>
            <a:r>
              <a:rPr lang="ru-RU" dirty="0" err="1" smtClean="0"/>
              <a:t>россии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US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sp>
        <p:nvSpPr>
          <p:cNvPr id="4" name="TextBox 3"/>
          <p:cNvSpPr txBox="1"/>
          <p:nvPr/>
        </p:nvSpPr>
        <p:spPr bwMode="gray">
          <a:xfrm>
            <a:off x="6584793" y="1293115"/>
            <a:ext cx="2653991" cy="6463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/>
              <a:t>Больной, прибывший  в диализный центр</a:t>
            </a:r>
          </a:p>
          <a:p>
            <a:pPr algn="ctr"/>
            <a:endParaRPr lang="ru-RU" sz="1400" dirty="0" smtClean="0"/>
          </a:p>
        </p:txBody>
      </p:sp>
      <p:sp>
        <p:nvSpPr>
          <p:cNvPr id="5" name="TextBox 4"/>
          <p:cNvSpPr txBox="1"/>
          <p:nvPr/>
        </p:nvSpPr>
        <p:spPr bwMode="gray">
          <a:xfrm>
            <a:off x="390293" y="1295121"/>
            <a:ext cx="2653990" cy="6463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/>
              <a:t>Больной, позвонивший по поводу клинических симптомов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1165303" y="2362861"/>
            <a:ext cx="2653990" cy="43088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/>
              <a:t>Выявлены клинические симптомы</a:t>
            </a:r>
          </a:p>
        </p:txBody>
      </p:sp>
      <p:sp>
        <p:nvSpPr>
          <p:cNvPr id="7" name="TextBox 6"/>
          <p:cNvSpPr txBox="1"/>
          <p:nvPr/>
        </p:nvSpPr>
        <p:spPr bwMode="gray">
          <a:xfrm>
            <a:off x="6584793" y="2373099"/>
            <a:ext cx="2653991" cy="6463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/>
              <a:t>Выявлен контакт с больным с подтверждением или подозрением на </a:t>
            </a:r>
            <a:r>
              <a:rPr lang="en-US" sz="1400" dirty="0" smtClean="0"/>
              <a:t>COVID19</a:t>
            </a:r>
            <a:endParaRPr lang="ru-RU" sz="1400" dirty="0" err="1" smtClean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9311268" y="2363223"/>
            <a:ext cx="2653990" cy="8617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/>
              <a:t>Больной, переведенный из другого отделения (не </a:t>
            </a:r>
            <a:r>
              <a:rPr lang="en-US" sz="1400" dirty="0" smtClean="0"/>
              <a:t>FMC</a:t>
            </a:r>
            <a:r>
              <a:rPr lang="ru-RU" sz="1400" dirty="0" smtClean="0"/>
              <a:t>) или прибывший из другого региона</a:t>
            </a:r>
          </a:p>
        </p:txBody>
      </p:sp>
      <p:sp>
        <p:nvSpPr>
          <p:cNvPr id="9" name="TextBox 8"/>
          <p:cNvSpPr txBox="1"/>
          <p:nvPr/>
        </p:nvSpPr>
        <p:spPr bwMode="gray">
          <a:xfrm>
            <a:off x="3875047" y="2373099"/>
            <a:ext cx="2653991" cy="43088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/>
              <a:t>Клинических симптомов, контактов не выявлено</a:t>
            </a:r>
          </a:p>
        </p:txBody>
      </p:sp>
      <p:sp>
        <p:nvSpPr>
          <p:cNvPr id="10" name="TextBox 9"/>
          <p:cNvSpPr txBox="1"/>
          <p:nvPr/>
        </p:nvSpPr>
        <p:spPr bwMode="gray">
          <a:xfrm>
            <a:off x="390293" y="3127920"/>
            <a:ext cx="2637263" cy="86177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/>
              <a:t>Вызов </a:t>
            </a:r>
            <a:r>
              <a:rPr lang="ru-RU" sz="1400" dirty="0" err="1" smtClean="0"/>
              <a:t>амбуланса</a:t>
            </a:r>
            <a:r>
              <a:rPr lang="ru-RU" sz="1400" dirty="0" smtClean="0"/>
              <a:t>, направление в специализированный инфекционный стационар</a:t>
            </a:r>
          </a:p>
        </p:txBody>
      </p:sp>
      <p:sp>
        <p:nvSpPr>
          <p:cNvPr id="11" name="TextBox 10"/>
          <p:cNvSpPr txBox="1"/>
          <p:nvPr/>
        </p:nvSpPr>
        <p:spPr bwMode="gray">
          <a:xfrm>
            <a:off x="390293" y="4800600"/>
            <a:ext cx="2653990" cy="646331"/>
          </a:xfrm>
          <a:prstGeom prst="rect">
            <a:avLst/>
          </a:prstGeom>
          <a:solidFill>
            <a:srgbClr val="C0000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Проведение диализа в диализном отделении (боксе) стационара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7984272" y="4369713"/>
            <a:ext cx="2653991" cy="1292662"/>
          </a:xfrm>
          <a:prstGeom prst="rect">
            <a:avLst/>
          </a:prstGeom>
          <a:solidFill>
            <a:srgbClr val="FF990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«Карантинный» зал диализного центра, изолированный от других с отдельным персоналом в СИЗ на 14 дней, затем перевод в обычный зал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3875048" y="3552934"/>
            <a:ext cx="2653990" cy="43088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Соответствующий обычный диализный зал центра</a:t>
            </a:r>
          </a:p>
        </p:txBody>
      </p:sp>
      <p:sp>
        <p:nvSpPr>
          <p:cNvPr id="14" name="TextBox 13"/>
          <p:cNvSpPr txBox="1"/>
          <p:nvPr/>
        </p:nvSpPr>
        <p:spPr bwMode="gray">
          <a:xfrm>
            <a:off x="3875047" y="4817327"/>
            <a:ext cx="2592660" cy="64633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dirty="0" smtClean="0"/>
              <a:t>Негативный результат </a:t>
            </a:r>
            <a:r>
              <a:rPr lang="en-US" sz="1400" dirty="0" smtClean="0"/>
              <a:t>PCR</a:t>
            </a:r>
            <a:r>
              <a:rPr lang="ru-RU" sz="1400" dirty="0" smtClean="0"/>
              <a:t> на </a:t>
            </a:r>
            <a:r>
              <a:rPr lang="en-US" sz="1400" dirty="0" smtClean="0"/>
              <a:t>COVID 19</a:t>
            </a:r>
            <a:endParaRPr lang="ru-RU" sz="1400" dirty="0" smtClean="0"/>
          </a:p>
          <a:p>
            <a:pPr algn="ctr"/>
            <a:r>
              <a:rPr lang="ru-RU" sz="1400" dirty="0" smtClean="0"/>
              <a:t>Выписка по излечении</a:t>
            </a:r>
          </a:p>
        </p:txBody>
      </p:sp>
      <p:sp>
        <p:nvSpPr>
          <p:cNvPr id="15" name="Стрелка вниз 14"/>
          <p:cNvSpPr/>
          <p:nvPr/>
        </p:nvSpPr>
        <p:spPr bwMode="gray">
          <a:xfrm>
            <a:off x="8382824" y="3072161"/>
            <a:ext cx="284356" cy="1297552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 smtClean="0"/>
          </a:p>
        </p:txBody>
      </p:sp>
      <p:sp>
        <p:nvSpPr>
          <p:cNvPr id="16" name="Стрелка вниз 15"/>
          <p:cNvSpPr/>
          <p:nvPr/>
        </p:nvSpPr>
        <p:spPr bwMode="gray">
          <a:xfrm>
            <a:off x="9814932" y="3284033"/>
            <a:ext cx="284356" cy="1085679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 smtClean="0"/>
          </a:p>
        </p:txBody>
      </p:sp>
      <p:sp>
        <p:nvSpPr>
          <p:cNvPr id="18" name="Стрелка вниз 17"/>
          <p:cNvSpPr/>
          <p:nvPr/>
        </p:nvSpPr>
        <p:spPr bwMode="gray">
          <a:xfrm>
            <a:off x="5059864" y="2849809"/>
            <a:ext cx="284356" cy="69482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 smtClean="0"/>
          </a:p>
        </p:txBody>
      </p:sp>
      <p:sp>
        <p:nvSpPr>
          <p:cNvPr id="20" name="Стрелка вниз 19"/>
          <p:cNvSpPr/>
          <p:nvPr/>
        </p:nvSpPr>
        <p:spPr bwMode="gray">
          <a:xfrm>
            <a:off x="1575110" y="4056547"/>
            <a:ext cx="284356" cy="744053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 smtClean="0"/>
          </a:p>
        </p:txBody>
      </p:sp>
      <p:sp>
        <p:nvSpPr>
          <p:cNvPr id="21" name="Стрелка вправо 20"/>
          <p:cNvSpPr/>
          <p:nvPr/>
        </p:nvSpPr>
        <p:spPr bwMode="gray">
          <a:xfrm>
            <a:off x="6529038" y="4919241"/>
            <a:ext cx="1455234" cy="27200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 err="1" smtClean="0"/>
          </a:p>
        </p:txBody>
      </p:sp>
      <p:cxnSp>
        <p:nvCxnSpPr>
          <p:cNvPr id="25" name="Прямая со стрелкой 24"/>
          <p:cNvCxnSpPr>
            <a:stCxn id="4" idx="2"/>
          </p:cNvCxnSpPr>
          <p:nvPr/>
        </p:nvCxnSpPr>
        <p:spPr bwMode="gray">
          <a:xfrm flipH="1">
            <a:off x="7911788" y="1939446"/>
            <a:ext cx="1" cy="423415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4" idx="2"/>
            <a:endCxn id="8" idx="0"/>
          </p:cNvCxnSpPr>
          <p:nvPr/>
        </p:nvCxnSpPr>
        <p:spPr bwMode="gray">
          <a:xfrm>
            <a:off x="7911789" y="1939446"/>
            <a:ext cx="2726474" cy="423777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stCxn id="4" idx="2"/>
            <a:endCxn id="9" idx="0"/>
          </p:cNvCxnSpPr>
          <p:nvPr/>
        </p:nvCxnSpPr>
        <p:spPr bwMode="gray">
          <a:xfrm flipH="1">
            <a:off x="5202043" y="1939446"/>
            <a:ext cx="2709746" cy="433653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stCxn id="4" idx="2"/>
            <a:endCxn id="6" idx="0"/>
          </p:cNvCxnSpPr>
          <p:nvPr/>
        </p:nvCxnSpPr>
        <p:spPr bwMode="gray">
          <a:xfrm flipH="1">
            <a:off x="2492298" y="1939446"/>
            <a:ext cx="5419491" cy="423415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6" idx="2"/>
            <a:endCxn id="10" idx="0"/>
          </p:cNvCxnSpPr>
          <p:nvPr/>
        </p:nvCxnSpPr>
        <p:spPr bwMode="gray">
          <a:xfrm flipH="1">
            <a:off x="1708925" y="2793748"/>
            <a:ext cx="783373" cy="334172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 bwMode="gray">
          <a:xfrm>
            <a:off x="1031044" y="1941452"/>
            <a:ext cx="10414" cy="1186468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/>
        </p:nvCxnSpPr>
        <p:spPr bwMode="gray">
          <a:xfrm flipH="1">
            <a:off x="7911787" y="1945677"/>
            <a:ext cx="1" cy="423415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/>
          <p:nvPr/>
        </p:nvCxnSpPr>
        <p:spPr bwMode="gray">
          <a:xfrm>
            <a:off x="7911788" y="1945677"/>
            <a:ext cx="2726474" cy="423777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/>
          <p:nvPr/>
        </p:nvCxnSpPr>
        <p:spPr bwMode="gray">
          <a:xfrm flipH="1">
            <a:off x="5202042" y="1945677"/>
            <a:ext cx="2709746" cy="433653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/>
          <p:nvPr/>
        </p:nvCxnSpPr>
        <p:spPr bwMode="gray">
          <a:xfrm flipH="1">
            <a:off x="2492297" y="1945677"/>
            <a:ext cx="5419491" cy="423415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 bwMode="gray">
          <a:xfrm flipH="1">
            <a:off x="1708924" y="2799979"/>
            <a:ext cx="783373" cy="334172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/>
          <p:nvPr/>
        </p:nvCxnSpPr>
        <p:spPr bwMode="gray">
          <a:xfrm>
            <a:off x="1031043" y="1935579"/>
            <a:ext cx="10414" cy="1186468"/>
          </a:xfrm>
          <a:prstGeom prst="straightConnector1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/>
          <p:cNvCxnSpPr>
            <a:endCxn id="14" idx="1"/>
          </p:cNvCxnSpPr>
          <p:nvPr/>
        </p:nvCxnSpPr>
        <p:spPr bwMode="gray">
          <a:xfrm>
            <a:off x="1708924" y="3983821"/>
            <a:ext cx="2166123" cy="1156672"/>
          </a:xfrm>
          <a:prstGeom prst="straightConnector1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/>
          <p:nvPr/>
        </p:nvCxnSpPr>
        <p:spPr bwMode="gray">
          <a:xfrm flipH="1">
            <a:off x="7911786" y="1939804"/>
            <a:ext cx="1" cy="423415"/>
          </a:xfrm>
          <a:prstGeom prst="straightConnector1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/>
          <p:cNvCxnSpPr/>
          <p:nvPr/>
        </p:nvCxnSpPr>
        <p:spPr bwMode="gray">
          <a:xfrm>
            <a:off x="7911787" y="1939804"/>
            <a:ext cx="2726474" cy="423777"/>
          </a:xfrm>
          <a:prstGeom prst="straightConnector1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 стрелкой 61"/>
          <p:cNvCxnSpPr/>
          <p:nvPr/>
        </p:nvCxnSpPr>
        <p:spPr bwMode="gray">
          <a:xfrm flipH="1">
            <a:off x="5202041" y="1939804"/>
            <a:ext cx="2709746" cy="433653"/>
          </a:xfrm>
          <a:prstGeom prst="straightConnector1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/>
          <p:cNvCxnSpPr/>
          <p:nvPr/>
        </p:nvCxnSpPr>
        <p:spPr bwMode="gray">
          <a:xfrm flipH="1">
            <a:off x="2492296" y="1939804"/>
            <a:ext cx="5419491" cy="423415"/>
          </a:xfrm>
          <a:prstGeom prst="straightConnector1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/>
          <p:cNvCxnSpPr/>
          <p:nvPr/>
        </p:nvCxnSpPr>
        <p:spPr bwMode="gray">
          <a:xfrm flipH="1">
            <a:off x="1708923" y="2794106"/>
            <a:ext cx="783373" cy="334172"/>
          </a:xfrm>
          <a:prstGeom prst="straightConnector1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034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3497" y="113123"/>
            <a:ext cx="11096703" cy="786991"/>
          </a:xfrm>
        </p:spPr>
        <p:txBody>
          <a:bodyPr/>
          <a:lstStyle/>
          <a:p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РУКОВОДСТВО </a:t>
            </a:r>
            <a:r>
              <a:rPr lang="ru-RU" sz="1600" dirty="0"/>
              <a:t>О СОБЛЮДЕНИИ МЕР ПРЕДОСТОРОЖНОСТИ ПРИ РАБОТЕ С ИНФИЦИРОВАННЫМИ COVID-19 В КЛИНИКЕ НЕФРОКЕА </a:t>
            </a:r>
            <a:br>
              <a:rPr lang="ru-RU" sz="1600" dirty="0"/>
            </a:br>
            <a:endParaRPr lang="ru-RU" sz="1600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2"/>
          </p:nvPr>
        </p:nvSpPr>
        <p:spPr>
          <a:xfrm>
            <a:off x="452122" y="1155644"/>
            <a:ext cx="11280000" cy="2808615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В руководстве представлена информация </a:t>
            </a:r>
            <a:r>
              <a:rPr lang="ru-RU" sz="1400" dirty="0"/>
              <a:t>о том, как лечить инфицированных или потенциально инфицированных </a:t>
            </a:r>
            <a:r>
              <a:rPr lang="ru-RU" sz="1400" dirty="0" smtClean="0"/>
              <a:t>пациентов в ДЦ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Цель: в </a:t>
            </a:r>
            <a:r>
              <a:rPr lang="ru-RU" sz="1400" dirty="0" smtClean="0"/>
              <a:t>руководстве </a:t>
            </a:r>
            <a:r>
              <a:rPr lang="ru-RU" sz="1400" dirty="0"/>
              <a:t>описываются методы борьбы с </a:t>
            </a:r>
            <a:r>
              <a:rPr lang="ru-RU" sz="1400" dirty="0" smtClean="0"/>
              <a:t>инфекцией, </a:t>
            </a:r>
            <a:r>
              <a:rPr lang="ru-RU" sz="1400" dirty="0"/>
              <a:t>которые должны быть внедрены в клиниках </a:t>
            </a:r>
            <a:r>
              <a:rPr lang="ru-RU" sz="1400" dirty="0" err="1"/>
              <a:t>NephroCare</a:t>
            </a:r>
            <a:r>
              <a:rPr lang="ru-RU" sz="1400" dirty="0"/>
              <a:t> EMEA, чтобы минимизировать </a:t>
            </a:r>
            <a:r>
              <a:rPr lang="ru-RU" sz="1400" dirty="0" smtClean="0"/>
              <a:t>риски инфицирования </a:t>
            </a:r>
            <a:r>
              <a:rPr lang="ru-RU" sz="1400" dirty="0"/>
              <a:t>персонала и пациентов </a:t>
            </a:r>
            <a:r>
              <a:rPr lang="ru-RU" sz="1400" dirty="0" smtClean="0"/>
              <a:t> при контакте с пациентами с </a:t>
            </a:r>
            <a:r>
              <a:rPr lang="ru-RU" sz="1400" dirty="0" err="1" smtClean="0"/>
              <a:t>коронавирусной</a:t>
            </a:r>
            <a:r>
              <a:rPr lang="ru-RU" sz="1400" dirty="0" smtClean="0"/>
              <a:t> инфекцией </a:t>
            </a:r>
            <a:r>
              <a:rPr lang="ru-RU" sz="1400" dirty="0"/>
              <a:t>(COVID-19</a:t>
            </a:r>
            <a:r>
              <a:rPr lang="ru-RU" sz="1400" dirty="0" smtClean="0"/>
              <a:t>), </a:t>
            </a:r>
            <a:r>
              <a:rPr lang="ru-RU" sz="1400" dirty="0"/>
              <a:t>если такие пациенты </a:t>
            </a:r>
            <a:r>
              <a:rPr lang="ru-RU" sz="1400" dirty="0" smtClean="0"/>
              <a:t>будут получать диализ </a:t>
            </a:r>
            <a:r>
              <a:rPr lang="ru-RU" sz="1400" dirty="0"/>
              <a:t>в наших клиниках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Согласно с/э законодательства РФ, диализ </a:t>
            </a:r>
            <a:r>
              <a:rPr lang="ru-RU" sz="1400" dirty="0"/>
              <a:t>пациентам с подтвержденным или подозреваемым случаем на новую </a:t>
            </a:r>
            <a:r>
              <a:rPr lang="ru-RU" sz="1400" dirty="0" err="1"/>
              <a:t>коронавирусную</a:t>
            </a:r>
            <a:r>
              <a:rPr lang="ru-RU" sz="1400" dirty="0"/>
              <a:t> инфекцию (COVID-19) должен осуществляться строго в условиях инфекционного или другого выделенного стационара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Маршрутизация в ДЦ и диализ в условиях Диализного центра (отделения) возможен для пациентов, находящихся на домашнем карантине (самоизоляции), по согласованию с региональными органами здравоохранения и с Региональной группой реагирования на кризис EMEA Росси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868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el 1"/>
          <p:cNvSpPr>
            <a:spLocks noGrp="1"/>
          </p:cNvSpPr>
          <p:nvPr>
            <p:ph type="title"/>
          </p:nvPr>
        </p:nvSpPr>
        <p:spPr>
          <a:xfrm>
            <a:off x="658801" y="362185"/>
            <a:ext cx="11279716" cy="772999"/>
          </a:xfrm>
        </p:spPr>
        <p:txBody>
          <a:bodyPr/>
          <a:lstStyle/>
          <a:p>
            <a:r>
              <a:rPr lang="ru-RU" sz="1600" dirty="0" smtClean="0"/>
              <a:t>МЕРЫ ПРЕДОСТОРОЖНОСТИ, </a:t>
            </a:r>
            <a:r>
              <a:rPr lang="ru-RU" sz="1600" dirty="0"/>
              <a:t>КОТОРЫЕ НЕОБХОДИМО ИСПОЛЬЗОВАТЬ ВО ВСЕХ ЦЕНТРАХ </a:t>
            </a:r>
            <a:r>
              <a:rPr lang="en-US" sz="1600" dirty="0" smtClean="0"/>
              <a:t>FMC</a:t>
            </a:r>
            <a:r>
              <a:rPr lang="ru-RU" sz="1600" dirty="0" smtClean="0"/>
              <a:t> </a:t>
            </a:r>
            <a:r>
              <a:rPr lang="ru-RU" sz="1600" dirty="0"/>
              <a:t>EMEA</a:t>
            </a:r>
            <a:br>
              <a:rPr lang="ru-RU" sz="1600" dirty="0"/>
            </a:br>
            <a:endParaRPr lang="de-DE" alt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35" name="Fußzeilenplatzhalter 3"/>
          <p:cNvSpPr>
            <a:spLocks noGrp="1"/>
          </p:cNvSpPr>
          <p:nvPr>
            <p:ph type="ftr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mtClean="0"/>
              <a:t>К.Гуревич, О.Кодюшева </a:t>
            </a:r>
            <a:r>
              <a:rPr lang="en-GB" altLang="ru-RU" smtClean="0"/>
              <a:t>COVID19 29 </a:t>
            </a:r>
            <a:r>
              <a:rPr lang="ru-RU" altLang="ru-RU" smtClean="0"/>
              <a:t>апр 2020</a:t>
            </a:r>
            <a:endParaRPr lang="de-DE" altLang="ru-RU"/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>
          <a:xfrm>
            <a:off x="477299" y="1014760"/>
            <a:ext cx="11043443" cy="3181063"/>
          </a:xfrm>
          <a:solidFill>
            <a:schemeClr val="accent2">
              <a:lumMod val="40000"/>
              <a:lumOff val="60000"/>
            </a:schemeClr>
          </a:solidFill>
        </p:spPr>
        <p:txBody>
          <a:bodyPr rtlCol="0">
            <a:noAutofit/>
          </a:bodyPr>
          <a:lstStyle/>
          <a:p>
            <a:pPr marL="0" indent="0">
              <a:buNone/>
            </a:pPr>
            <a:r>
              <a:rPr lang="ru-RU" sz="1600" dirty="0" smtClean="0"/>
              <a:t>    ДЛЯ </a:t>
            </a:r>
            <a:r>
              <a:rPr lang="ru-RU" sz="1600" dirty="0"/>
              <a:t>СОТРУДНИК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Сотрудники </a:t>
            </a:r>
            <a:r>
              <a:rPr lang="ru-RU" sz="1400" dirty="0"/>
              <a:t>должны самостоятельно </a:t>
            </a:r>
            <a:r>
              <a:rPr lang="ru-RU" sz="1400" dirty="0" smtClean="0"/>
              <a:t>контролировать свое самочувствие и  </a:t>
            </a:r>
            <a:r>
              <a:rPr lang="ru-RU" sz="1400" dirty="0"/>
              <a:t>температуру в домашних условиях. В случае лихорадки </a:t>
            </a:r>
            <a:r>
              <a:rPr lang="ru-RU" sz="1400" dirty="0" smtClean="0"/>
              <a:t>и/или </a:t>
            </a:r>
            <a:r>
              <a:rPr lang="ru-RU" sz="1400" dirty="0"/>
              <a:t>респираторных симптомов </a:t>
            </a:r>
            <a:r>
              <a:rPr lang="ru-RU" sz="1400" dirty="0" smtClean="0"/>
              <a:t>сообщить о заболевании главному врачу ДЦ, обратиться в поликлинику, взять больничный лист</a:t>
            </a:r>
            <a:endParaRPr lang="ru-RU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Сотрудники клиники </a:t>
            </a:r>
            <a:r>
              <a:rPr lang="ru-RU" sz="1400" dirty="0"/>
              <a:t>должны </a:t>
            </a:r>
            <a:r>
              <a:rPr lang="ru-RU" sz="1400" dirty="0" smtClean="0"/>
              <a:t>постоянно носить медицинскую </a:t>
            </a:r>
            <a:r>
              <a:rPr lang="ru-RU" sz="1400" dirty="0"/>
              <a:t>маску, когда </a:t>
            </a:r>
            <a:r>
              <a:rPr lang="ru-RU" sz="1400" dirty="0" smtClean="0"/>
              <a:t> </a:t>
            </a:r>
            <a:r>
              <a:rPr lang="ru-RU" sz="1400" dirty="0"/>
              <a:t>присутствуют в клинике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Во </a:t>
            </a:r>
            <a:r>
              <a:rPr lang="ru-RU" sz="1400" dirty="0"/>
              <a:t>время еды или перерыва сотрудники клиники </a:t>
            </a:r>
            <a:r>
              <a:rPr lang="ru-RU" sz="1400" dirty="0" smtClean="0"/>
              <a:t>не допускать скопления людей в помещении, соблюдать дистанцию  </a:t>
            </a:r>
            <a:r>
              <a:rPr lang="ru-RU" sz="1400" dirty="0"/>
              <a:t>между собой более 1,5 </a:t>
            </a:r>
            <a:r>
              <a:rPr lang="ru-RU" sz="1400" dirty="0" smtClean="0"/>
              <a:t>м. Рассмотреть возможность посещение комнаты для приема пищи по графику</a:t>
            </a: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Любой сотрудник, который имел контакт с положительно подтвержденным пациентом с </a:t>
            </a:r>
            <a:r>
              <a:rPr lang="en-US" sz="1400" dirty="0"/>
              <a:t>COVID</a:t>
            </a:r>
            <a:r>
              <a:rPr lang="ru-RU" sz="1400" dirty="0"/>
              <a:t>-19 в течение последних 14 дней (за исключением ситуации, когда медицинский работник работал с пациентом в соответствии с правилами гигиены и инфекционного контроля), не должен посещать работу и должен «</a:t>
            </a:r>
            <a:r>
              <a:rPr lang="ru-RU" sz="1400" dirty="0" err="1"/>
              <a:t>самоизолироваться</a:t>
            </a:r>
            <a:r>
              <a:rPr lang="ru-RU" sz="1400" dirty="0"/>
              <a:t>» дома с ежедневным контролем температуры в течение 14 дней. О причинах самоизоляции сотрудник должен также информировать комиссию реагирования на кризисные ситуации по телефону</a:t>
            </a:r>
          </a:p>
          <a:p>
            <a:endParaRPr lang="en-US" dirty="0" smtClean="0"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</p:txBody>
      </p:sp>
    </p:spTree>
    <p:extLst>
      <p:ext uri="{BB962C8B-B14F-4D97-AF65-F5344CB8AC3E}">
        <p14:creationId xmlns:p14="http://schemas.microsoft.com/office/powerpoint/2010/main" val="2774434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el 1"/>
          <p:cNvSpPr>
            <a:spLocks noGrp="1"/>
          </p:cNvSpPr>
          <p:nvPr>
            <p:ph type="title"/>
          </p:nvPr>
        </p:nvSpPr>
        <p:spPr>
          <a:xfrm>
            <a:off x="777865" y="376663"/>
            <a:ext cx="10993487" cy="782949"/>
          </a:xfrm>
        </p:spPr>
        <p:txBody>
          <a:bodyPr/>
          <a:lstStyle/>
          <a:p>
            <a:r>
              <a:rPr lang="ru-RU" sz="1600" dirty="0"/>
              <a:t>МЕРЫ ПРЕДОСТОРОЖНОСТИ, КОТОРЫЕ НЕОБХОДИМО ИСПОЛЬЗОВАТЬ ВО ВСЕХ ЦЕНТРАХ FMC EMEA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/>
              <a:t/>
            </a:r>
            <a:br>
              <a:rPr lang="ru-RU" sz="1600" dirty="0"/>
            </a:br>
            <a:endParaRPr lang="de-DE" altLang="ru-RU" sz="1200" dirty="0" smtClean="0"/>
          </a:p>
        </p:txBody>
      </p:sp>
      <p:sp>
        <p:nvSpPr>
          <p:cNvPr id="18435" name="Fußzeilenplatzhalter 3"/>
          <p:cNvSpPr>
            <a:spLocks noGrp="1"/>
          </p:cNvSpPr>
          <p:nvPr>
            <p:ph type="ftr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mtClean="0"/>
              <a:t>К.Гуревич, О.Кодюшева </a:t>
            </a:r>
            <a:r>
              <a:rPr lang="en-GB" altLang="ru-RU" smtClean="0"/>
              <a:t>COVID19 29 </a:t>
            </a:r>
            <a:r>
              <a:rPr lang="ru-RU" altLang="ru-RU" smtClean="0"/>
              <a:t>апр 2020</a:t>
            </a:r>
            <a:endParaRPr lang="de-DE" altLang="ru-RU"/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>
          <a:xfrm>
            <a:off x="295507" y="1072789"/>
            <a:ext cx="11652359" cy="3377677"/>
          </a:xfrm>
          <a:solidFill>
            <a:schemeClr val="accent2">
              <a:lumMod val="40000"/>
              <a:lumOff val="60000"/>
            </a:schemeClr>
          </a:solidFill>
        </p:spPr>
        <p:txBody>
          <a:bodyPr rtlCol="0">
            <a:noAutofit/>
          </a:bodyPr>
          <a:lstStyle/>
          <a:p>
            <a:r>
              <a:rPr lang="ru-RU" sz="1400" dirty="0" smtClean="0"/>
              <a:t>    ДЛЯ ПАЦИЕНТОВ</a:t>
            </a: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Рекомендовать пациентам в случае появления респираторных симптомов или лихорадки, предупредить лечащего врача по телефону, обратиться за мед помощью в поликлинику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ациенты  должны носить медицинские маски с момента выхода из дома и до возвращения домой. В ДЦ использовать маски, предназначенные для ДЦ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Антисептики для рук необходимо разместить при входе в ДЦ. Перед входом и выходом </a:t>
            </a:r>
            <a:r>
              <a:rPr lang="ru-RU" sz="1400" dirty="0"/>
              <a:t>из клиники пациент должен выполнить гигиену рук (обработать руки антисептиком</a:t>
            </a:r>
            <a:r>
              <a:rPr lang="ru-RU" sz="1400" dirty="0" smtClean="0"/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 Прежде </a:t>
            </a:r>
            <a:r>
              <a:rPr lang="ru-RU" sz="1400" dirty="0"/>
              <a:t>чем войти в </a:t>
            </a:r>
            <a:r>
              <a:rPr lang="ru-RU" sz="1400" dirty="0" smtClean="0"/>
              <a:t>диализный зал, пациенты должны вымыть руки водой с мылом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Необходимо обеспечить расстояние не менее 1,5 м между пациентами во всех возможных ситуациях и рекомендуйте избегать  скоплений людей в помещениях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Все чехлы и пледы и другое постельное белье рекомендуется стирать после каждого </a:t>
            </a:r>
            <a:r>
              <a:rPr lang="ru-RU" sz="1400" dirty="0" smtClean="0"/>
              <a:t>использования – </a:t>
            </a:r>
            <a:r>
              <a:rPr lang="ru-RU" sz="1400" dirty="0" smtClean="0">
                <a:solidFill>
                  <a:srgbClr val="C00000"/>
                </a:solidFill>
              </a:rPr>
              <a:t>данная  рекомендация распространяется в наших центрах пока только для карантинных пациентов!</a:t>
            </a:r>
          </a:p>
        </p:txBody>
      </p:sp>
    </p:spTree>
    <p:extLst>
      <p:ext uri="{BB962C8B-B14F-4D97-AF65-F5344CB8AC3E}">
        <p14:creationId xmlns:p14="http://schemas.microsoft.com/office/powerpoint/2010/main" val="2825154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el 1"/>
          <p:cNvSpPr>
            <a:spLocks noGrp="1"/>
          </p:cNvSpPr>
          <p:nvPr>
            <p:ph type="title"/>
          </p:nvPr>
        </p:nvSpPr>
        <p:spPr>
          <a:xfrm>
            <a:off x="777865" y="376663"/>
            <a:ext cx="10993487" cy="782949"/>
          </a:xfrm>
        </p:spPr>
        <p:txBody>
          <a:bodyPr/>
          <a:lstStyle/>
          <a:p>
            <a:r>
              <a:rPr lang="ru-RU" sz="1600" dirty="0"/>
              <a:t>МЕРЫ ПРЕДОСТОРОЖНОСТИ, КОТОРЫЕ НЕОБХОДИМО ИСПОЛЬЗОВАТЬ ВО ВСЕХ ЦЕНТРАХ FMC EMEA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/>
              <a:t/>
            </a:r>
            <a:br>
              <a:rPr lang="ru-RU" sz="1600" dirty="0"/>
            </a:br>
            <a:endParaRPr lang="de-DE" altLang="ru-RU" sz="1200" dirty="0" smtClean="0"/>
          </a:p>
        </p:txBody>
      </p:sp>
      <p:sp>
        <p:nvSpPr>
          <p:cNvPr id="18435" name="Fußzeilenplatzhalter 3"/>
          <p:cNvSpPr>
            <a:spLocks noGrp="1"/>
          </p:cNvSpPr>
          <p:nvPr>
            <p:ph type="ftr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mtClean="0"/>
              <a:t>К.Гуревич, О.Кодюшева </a:t>
            </a:r>
            <a:r>
              <a:rPr lang="en-GB" altLang="ru-RU" smtClean="0"/>
              <a:t>COVID19 29 </a:t>
            </a:r>
            <a:r>
              <a:rPr lang="ru-RU" altLang="ru-RU" smtClean="0"/>
              <a:t>апр 2020</a:t>
            </a:r>
            <a:endParaRPr lang="de-DE" altLang="ru-RU"/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>
          <a:xfrm>
            <a:off x="295507" y="1072790"/>
            <a:ext cx="11652359" cy="3476062"/>
          </a:xfrm>
          <a:solidFill>
            <a:schemeClr val="accent2">
              <a:lumMod val="40000"/>
              <a:lumOff val="60000"/>
            </a:schemeClr>
          </a:solidFill>
        </p:spPr>
        <p:txBody>
          <a:bodyPr rtlCol="0">
            <a:noAutofit/>
          </a:bodyPr>
          <a:lstStyle/>
          <a:p>
            <a:r>
              <a:rPr lang="ru-RU" sz="1400" dirty="0" smtClean="0"/>
              <a:t>     ДЛЯ ПАЦИЕНТОВ</a:t>
            </a:r>
            <a:endParaRPr lang="en-US" sz="1400" dirty="0" smtClean="0"/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 smtClean="0"/>
              <a:t>Пациентам </a:t>
            </a:r>
            <a:r>
              <a:rPr lang="ru-RU" sz="1400" dirty="0"/>
              <a:t>не рекомендуется прием пищи, если это возможно, в течение всего времени пребывания в клинике. Рассмотреть возможность разделения приема пищи в помещениях посменно.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Все пациенты ДОЛЖНЫ покинуть клинику до того, как в клинику поступит следующая смена. Это должно предотвратить контакт и потенциальное перекрестное загрязнение пациентов между сменами.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Рекомендовать пациентам отказ от общественного транспорта и использовать индивидуальный транспорт, где это возможно.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Необходимо информировать органы здравоохранения об опасности риска инфицирования пациентов, находящихся на гемодиализе, и просить рассмотреть возможность:</a:t>
            </a:r>
          </a:p>
          <a:p>
            <a:pPr marL="542925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транспортировка отдельных пациентов на диализ и/или надлежащую защиту во время транспортировки.</a:t>
            </a:r>
          </a:p>
          <a:p>
            <a:pPr marL="542925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/>
              <a:t>обеспечить обследование на COVID-19 пациентов и сотрудников с симптомами, а также контактных с инфицированными людьми, чтобы избежать дальнейшего распространения заболевания в ДЦ.</a:t>
            </a:r>
          </a:p>
          <a:p>
            <a:pPr marL="285750" indent="-285750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244314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el 1"/>
          <p:cNvSpPr>
            <a:spLocks noGrp="1"/>
          </p:cNvSpPr>
          <p:nvPr>
            <p:ph type="title"/>
          </p:nvPr>
        </p:nvSpPr>
        <p:spPr>
          <a:xfrm>
            <a:off x="703869" y="401444"/>
            <a:ext cx="11056332" cy="469524"/>
          </a:xfrm>
        </p:spPr>
        <p:txBody>
          <a:bodyPr/>
          <a:lstStyle/>
          <a:p>
            <a:r>
              <a:rPr lang="ru-RU" sz="1800" dirty="0"/>
              <a:t>ДРУГИЕ МЕРЫ ПРЕДОСТОРОЖНОСТИ</a:t>
            </a:r>
            <a:endParaRPr lang="de-DE" altLang="ru-RU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35" name="Fußzeilenplatzhalter 3"/>
          <p:cNvSpPr>
            <a:spLocks noGrp="1"/>
          </p:cNvSpPr>
          <p:nvPr>
            <p:ph type="ftr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mtClean="0"/>
              <a:t>К.Гуревич, О.Кодюшева </a:t>
            </a:r>
            <a:r>
              <a:rPr lang="en-GB" altLang="ru-RU" smtClean="0"/>
              <a:t>COVID19 29 </a:t>
            </a:r>
            <a:r>
              <a:rPr lang="ru-RU" altLang="ru-RU" smtClean="0"/>
              <a:t>апр 2020</a:t>
            </a:r>
            <a:endParaRPr lang="de-DE" altLang="ru-RU"/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>
          <a:xfrm>
            <a:off x="289087" y="1121791"/>
            <a:ext cx="11764652" cy="3120331"/>
          </a:xfrm>
          <a:solidFill>
            <a:schemeClr val="accent2">
              <a:lumMod val="40000"/>
              <a:lumOff val="60000"/>
            </a:schemeClr>
          </a:solidFill>
        </p:spPr>
        <p:txBody>
          <a:bodyPr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роводить </a:t>
            </a:r>
            <a:r>
              <a:rPr lang="ru-RU" sz="1400" dirty="0"/>
              <a:t>регулярную дезинфекцию часто используемых поверхностей (ручки, туалеты, весы, поверхности в комнатах ожидания и </a:t>
            </a:r>
            <a:r>
              <a:rPr lang="ru-RU" sz="1400" dirty="0" smtClean="0"/>
              <a:t>раздевалки).</a:t>
            </a:r>
            <a:endParaRPr lang="ru-RU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граничение посещения ДЦ  для лиц, </a:t>
            </a:r>
            <a:r>
              <a:rPr lang="ru-RU" sz="1400" dirty="0"/>
              <a:t>которые не являются пациентами или сотрудниками </a:t>
            </a:r>
            <a:r>
              <a:rPr lang="ru-RU" sz="1400" dirty="0" smtClean="0"/>
              <a:t>клиники без предварительного согласия руководителя ДЦ </a:t>
            </a:r>
            <a:r>
              <a:rPr lang="ru-RU" sz="1400" dirty="0"/>
              <a:t>Это включает в себя любого посетителя, родственника пациента, внешнего водителя и т. </a:t>
            </a:r>
            <a:r>
              <a:rPr lang="ru-RU" sz="1400" dirty="0" smtClean="0"/>
              <a:t>д… </a:t>
            </a:r>
            <a:r>
              <a:rPr lang="ru-RU" sz="1400" dirty="0"/>
              <a:t>б</a:t>
            </a:r>
            <a:r>
              <a:rPr lang="ru-RU" sz="1400" dirty="0" smtClean="0"/>
              <a:t>ез исключения</a:t>
            </a:r>
            <a:r>
              <a:rPr lang="ru-RU" sz="1400" dirty="0"/>
              <a:t>.</a:t>
            </a:r>
            <a:r>
              <a:rPr lang="ru-RU" sz="14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Временно </a:t>
            </a:r>
            <a:r>
              <a:rPr lang="ru-RU" sz="1400" dirty="0"/>
              <a:t>отложить диагностические процедуры, которые не являются неотложными и требуют дополнительного тесного контакта с пациентом </a:t>
            </a:r>
            <a:r>
              <a:rPr lang="ru-RU" sz="1400" dirty="0" smtClean="0"/>
              <a:t>(измерение </a:t>
            </a:r>
            <a:r>
              <a:rPr lang="ru-RU" sz="1400" dirty="0"/>
              <a:t>BCM, ультразвуковое исследование</a:t>
            </a:r>
            <a:r>
              <a:rPr lang="ru-RU" sz="1400" dirty="0" smtClean="0"/>
              <a:t>) </a:t>
            </a:r>
            <a:r>
              <a:rPr lang="ru-RU" sz="1400" dirty="0" smtClean="0">
                <a:solidFill>
                  <a:srgbClr val="C00000"/>
                </a:solidFill>
              </a:rPr>
              <a:t>– по решению главного врача.</a:t>
            </a:r>
            <a:endParaRPr lang="ru-RU" sz="1400" dirty="0">
              <a:solidFill>
                <a:srgbClr val="C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В</a:t>
            </a:r>
            <a:r>
              <a:rPr lang="ru-RU" sz="1400" dirty="0" smtClean="0"/>
              <a:t>ременно отложить консультации и обследования в ДЦ </a:t>
            </a:r>
            <a:r>
              <a:rPr lang="ru-RU" sz="1400" dirty="0"/>
              <a:t>для </a:t>
            </a:r>
            <a:r>
              <a:rPr lang="ru-RU" sz="1400" dirty="0" err="1" smtClean="0"/>
              <a:t>додиализных</a:t>
            </a:r>
            <a:r>
              <a:rPr lang="ru-RU" sz="1400" dirty="0" smtClean="0"/>
              <a:t> и трансплантированных пациентов, использовать </a:t>
            </a:r>
            <a:r>
              <a:rPr lang="ru-RU" sz="1400" dirty="0"/>
              <a:t>вместо этого </a:t>
            </a:r>
            <a:r>
              <a:rPr lang="ru-RU" sz="1400" dirty="0" err="1" smtClean="0"/>
              <a:t>телеконсультации</a:t>
            </a:r>
            <a:r>
              <a:rPr lang="ru-RU" sz="1400" dirty="0" smtClean="0"/>
              <a:t> или консультации по телефону. </a:t>
            </a:r>
            <a:r>
              <a:rPr lang="ru-RU" sz="1400" dirty="0"/>
              <a:t>Если это невозможно, то </a:t>
            </a:r>
            <a:r>
              <a:rPr lang="ru-RU" sz="1400" dirty="0" smtClean="0"/>
              <a:t>время для </a:t>
            </a:r>
            <a:r>
              <a:rPr lang="ru-RU" sz="1400" dirty="0"/>
              <a:t>всех пациентов, не находящихся на диализе, посещающих клинику, </a:t>
            </a:r>
            <a:r>
              <a:rPr lang="ru-RU" sz="1400" dirty="0" smtClean="0"/>
              <a:t> должно быть разделено.</a:t>
            </a: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граничение приема </a:t>
            </a:r>
            <a:r>
              <a:rPr lang="ru-RU" sz="1400" dirty="0"/>
              <a:t>пациентов </a:t>
            </a:r>
            <a:r>
              <a:rPr lang="ru-RU" sz="1400" dirty="0" smtClean="0"/>
              <a:t>(российских </a:t>
            </a:r>
            <a:r>
              <a:rPr lang="ru-RU" sz="1400" dirty="0"/>
              <a:t>и международных) на </a:t>
            </a:r>
            <a:r>
              <a:rPr lang="ru-RU" sz="1400" dirty="0" smtClean="0"/>
              <a:t>гостевой диализ.</a:t>
            </a:r>
            <a:endParaRPr lang="ru-RU" sz="1400" dirty="0"/>
          </a:p>
          <a:p>
            <a:r>
              <a:rPr lang="en-US" sz="1200" dirty="0" smtClean="0"/>
              <a:t>  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080514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8707" y="368378"/>
            <a:ext cx="11017249" cy="384329"/>
          </a:xfrm>
        </p:spPr>
        <p:txBody>
          <a:bodyPr/>
          <a:lstStyle/>
          <a:p>
            <a:r>
              <a:rPr lang="ru-RU" sz="1800" dirty="0" smtClean="0"/>
              <a:t>Заключительная дезинфекция</a:t>
            </a:r>
            <a:endParaRPr lang="ru-RU" sz="1800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2"/>
          </p:nvPr>
        </p:nvSpPr>
        <p:spPr>
          <a:xfrm>
            <a:off x="338392" y="1037982"/>
            <a:ext cx="11549943" cy="5017129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омещения для лечения </a:t>
            </a:r>
            <a:r>
              <a:rPr lang="ru-RU" sz="1400" dirty="0" smtClean="0"/>
              <a:t>карантинных пациентов дезинфицируются по окончании </a:t>
            </a:r>
            <a:r>
              <a:rPr lang="ru-RU" sz="1400" dirty="0"/>
              <a:t>смены </a:t>
            </a:r>
            <a:r>
              <a:rPr lang="ru-RU" sz="1400" dirty="0" smtClean="0"/>
              <a:t>пациентов, когда пациенты покинули зал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Чехол для кресла и плед (одеяло) необходимо убирать только после того, как все пациенты покинут процедурную комнату. Чехол для кресла и плед многократного использования следует стирать после каждой процедуры (не хранить в индивидуальной сумке для следующей процедуры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оверхности частого касания</a:t>
            </a:r>
            <a:r>
              <a:rPr lang="ru-RU" sz="1400" dirty="0" smtClean="0"/>
              <a:t> (</a:t>
            </a:r>
            <a:r>
              <a:rPr lang="ru-RU" sz="1400" dirty="0" smtClean="0"/>
              <a:t>манжета для измерения давления, рабочий стол, дверные ручки, тележки для уборочного инвентаря, отходов) должны быть продезинфицированы после завершения процедуры подключения и отключени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Контейнеры для сбора отходов </a:t>
            </a:r>
            <a:r>
              <a:rPr lang="ru-RU" sz="1400" dirty="0"/>
              <a:t>должны быть предназначены только для зоны изоляции и </a:t>
            </a:r>
            <a:r>
              <a:rPr lang="ru-RU" sz="1400" dirty="0" smtClean="0"/>
              <a:t>должны быть продезинфицированы после </a:t>
            </a:r>
            <a:r>
              <a:rPr lang="ru-RU" sz="1400" dirty="0"/>
              <a:t>подключения </a:t>
            </a:r>
            <a:r>
              <a:rPr lang="ru-RU" sz="1400" dirty="0" smtClean="0"/>
              <a:t>и отключения.</a:t>
            </a: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Уборочный инвентарь должен быть предназначен для изолированной комнаты и храниться отдельно. Оборудование должно иметь четкую маркировку или цветовую маркировку в зависимости от области применени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Уборочный инвентарь (швабры и ведра), должен быть тщательно вымыт, продезинфицирован и высушен после использования. Использованные </a:t>
            </a:r>
            <a:r>
              <a:rPr lang="ru-RU" sz="1400" dirty="0" err="1"/>
              <a:t>мопы</a:t>
            </a:r>
            <a:r>
              <a:rPr lang="ru-RU" sz="1400" dirty="0"/>
              <a:t> нельзя хранить во влажном состоянии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Дезинфекция пола должна производиться после того, как все пациенты покинули зал и после завершения дезинфекции всех поверхностей, в т ч  аппара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Если пациент находится на расстоянии 1,5 м от стены, после ухода пациента стену необходимо обработать </a:t>
            </a:r>
            <a:r>
              <a:rPr lang="ru-RU" sz="1400" dirty="0" err="1"/>
              <a:t>дезинфицирущим</a:t>
            </a:r>
            <a:r>
              <a:rPr lang="ru-RU" sz="1400" dirty="0"/>
              <a:t> раствор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осле подключения и отключения, поверхность АИП обрабатывается салфеткой сверху вниз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725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98887" y="373954"/>
            <a:ext cx="11017249" cy="720081"/>
          </a:xfrm>
        </p:spPr>
        <p:txBody>
          <a:bodyPr/>
          <a:lstStyle/>
          <a:p>
            <a:r>
              <a:rPr lang="ru-RU" sz="1800" dirty="0" smtClean="0"/>
              <a:t>Средства для дезинфекции</a:t>
            </a:r>
            <a:endParaRPr lang="ru-RU" sz="1800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2"/>
          </p:nvPr>
        </p:nvSpPr>
        <p:spPr>
          <a:xfrm>
            <a:off x="435395" y="1060858"/>
            <a:ext cx="11280000" cy="1578170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Для обработки поверхностей </a:t>
            </a:r>
            <a:r>
              <a:rPr lang="ru-RU" sz="1400" dirty="0"/>
              <a:t>в зоне пациента (тележка, манжета для измерения </a:t>
            </a:r>
            <a:r>
              <a:rPr lang="ru-RU" sz="1400" dirty="0" smtClean="0"/>
              <a:t>давления) использу</a:t>
            </a:r>
            <a:r>
              <a:rPr lang="ru-RU" sz="1400" dirty="0"/>
              <a:t>ю</a:t>
            </a:r>
            <a:r>
              <a:rPr lang="ru-RU" sz="1400" dirty="0" smtClean="0"/>
              <a:t>тся </a:t>
            </a:r>
          </a:p>
          <a:p>
            <a:pPr marL="542925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спиртовые салфетки (содержание спирта 62- 71%)</a:t>
            </a:r>
            <a:endParaRPr lang="ru-RU" sz="1400" dirty="0"/>
          </a:p>
          <a:p>
            <a:pPr marL="542925" indent="-285750">
              <a:buFont typeface="Arial" panose="020B0604020202020204" pitchFamily="34" charset="0"/>
              <a:buChar char="•"/>
            </a:pPr>
            <a:r>
              <a:rPr lang="ru-RU" sz="1400" dirty="0"/>
              <a:t>р</a:t>
            </a:r>
            <a:r>
              <a:rPr lang="ru-RU" sz="1400" dirty="0" smtClean="0"/>
              <a:t>аствор гипохлорита </a:t>
            </a:r>
            <a:r>
              <a:rPr lang="ru-RU" sz="1400" dirty="0"/>
              <a:t>натрия 0,1</a:t>
            </a:r>
            <a:r>
              <a:rPr lang="ru-RU" sz="1400" dirty="0" smtClean="0"/>
              <a:t>%</a:t>
            </a:r>
            <a:endParaRPr lang="ru-RU" sz="1400" dirty="0"/>
          </a:p>
          <a:p>
            <a:pPr marL="542925" indent="-285750">
              <a:buFont typeface="Arial" panose="020B0604020202020204" pitchFamily="34" charset="0"/>
              <a:buChar char="•"/>
            </a:pPr>
            <a:r>
              <a:rPr lang="ru-RU" sz="1400" dirty="0"/>
              <a:t>л</a:t>
            </a:r>
            <a:r>
              <a:rPr lang="ru-RU" sz="1400" dirty="0" smtClean="0"/>
              <a:t>юбой </a:t>
            </a:r>
            <a:r>
              <a:rPr lang="ru-RU" sz="1400" dirty="0"/>
              <a:t>проверенный </a:t>
            </a:r>
            <a:r>
              <a:rPr lang="ru-RU" sz="1400" dirty="0" err="1" smtClean="0"/>
              <a:t>дезинфектант</a:t>
            </a:r>
            <a:r>
              <a:rPr lang="ru-RU" sz="1400" dirty="0" smtClean="0"/>
              <a:t> </a:t>
            </a:r>
            <a:r>
              <a:rPr lang="ru-RU" sz="1400" dirty="0" err="1" smtClean="0"/>
              <a:t>вирулицидного</a:t>
            </a:r>
            <a:r>
              <a:rPr lang="ru-RU" sz="1400" dirty="0" smtClean="0"/>
              <a:t> действия</a:t>
            </a:r>
            <a:endParaRPr lang="ru-RU" sz="140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6625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0405" y="387732"/>
            <a:ext cx="11279716" cy="463007"/>
          </a:xfrm>
        </p:spPr>
        <p:txBody>
          <a:bodyPr/>
          <a:lstStyle/>
          <a:p>
            <a:r>
              <a:rPr lang="ru-RU" sz="2000" dirty="0"/>
              <a:t>Инструкция по организации диализа пациенту в условиях ДЦ</a:t>
            </a:r>
            <a:br>
              <a:rPr lang="ru-RU" sz="2000" dirty="0"/>
            </a:br>
            <a:endParaRPr lang="ru-RU" sz="2000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2"/>
          </p:nvPr>
        </p:nvSpPr>
        <p:spPr>
          <a:xfrm>
            <a:off x="503150" y="972466"/>
            <a:ext cx="11280000" cy="4027797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Диализ пациентам с подтвержденным или подозреваемым случаем на новую </a:t>
            </a:r>
            <a:r>
              <a:rPr lang="ru-RU" sz="1400" dirty="0" err="1"/>
              <a:t>коронавирусную</a:t>
            </a:r>
            <a:r>
              <a:rPr lang="ru-RU" sz="1400" dirty="0"/>
              <a:t> инфекцию (COVID-19) должен осуществляться строго в условиях инфекционного или другого выделенного стационара</a:t>
            </a:r>
            <a:r>
              <a:rPr lang="ru-RU" sz="14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Маршрутизация в ДЦ и диализ в условиях Диализного центра (отделения) </a:t>
            </a:r>
            <a:r>
              <a:rPr lang="ru-RU" sz="1400" dirty="0" smtClean="0"/>
              <a:t>возможна </a:t>
            </a:r>
            <a:r>
              <a:rPr lang="ru-RU" sz="1400" dirty="0"/>
              <a:t>для пациентов, вернувшихся после госпитализации из стационара, где регистрировались случаи </a:t>
            </a:r>
            <a:r>
              <a:rPr lang="en-US" sz="1400" dirty="0"/>
              <a:t>COVID-19</a:t>
            </a:r>
            <a:r>
              <a:rPr lang="ru-RU" sz="1400" dirty="0"/>
              <a:t>,</a:t>
            </a:r>
            <a:r>
              <a:rPr lang="en-US" sz="1400" dirty="0"/>
              <a:t> </a:t>
            </a:r>
            <a:r>
              <a:rPr lang="ru-RU" sz="1400" dirty="0" smtClean="0"/>
              <a:t>прибывшим </a:t>
            </a:r>
            <a:r>
              <a:rPr lang="ru-RU" sz="1400" dirty="0"/>
              <a:t>из регионов зарубежья и РФ, неблагополучных по</a:t>
            </a:r>
            <a:r>
              <a:rPr lang="en-US" sz="1400" dirty="0"/>
              <a:t> COVID-19</a:t>
            </a:r>
            <a:r>
              <a:rPr lang="ru-RU" sz="1400" dirty="0"/>
              <a:t>, </a:t>
            </a:r>
            <a:r>
              <a:rPr lang="ru-RU" sz="1400" dirty="0" smtClean="0"/>
              <a:t>пациентам </a:t>
            </a:r>
            <a:r>
              <a:rPr lang="ru-RU" sz="1400" dirty="0"/>
              <a:t>при выявлении подъема температура тела выше 37,5 при отсутствии других клинических проявлений острой респираторной </a:t>
            </a:r>
            <a:r>
              <a:rPr lang="ru-RU" sz="1400" dirty="0" smtClean="0"/>
              <a:t>инфекци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Необходимым условием для организации диализа является наличие карантинного зала в ДЦ (отделении) или возможность выделения последней смены в одном из залов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ациент </a:t>
            </a:r>
            <a:r>
              <a:rPr lang="ru-RU" sz="1400" dirty="0"/>
              <a:t>приглашается в ДЦ (отделение) после подключения пациентов основной смены</a:t>
            </a:r>
            <a:r>
              <a:rPr lang="ru-RU" sz="1400" dirty="0" smtClean="0"/>
              <a:t>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В фильтре зала, пациент снимает личную одежду и надевает костюм (возможно использование одноразового халата поверх личной одежды)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Пациент перед входом в ДЦ надевает респиратор  типа NIOSH-</a:t>
            </a:r>
            <a:r>
              <a:rPr lang="ru-RU" sz="1400" dirty="0" err="1"/>
              <a:t>certified</a:t>
            </a:r>
            <a:r>
              <a:rPr lang="ru-RU" sz="1400" dirty="0"/>
              <a:t> N 95, EU FFP2 или </a:t>
            </a:r>
            <a:r>
              <a:rPr lang="en-US" sz="1400" dirty="0"/>
              <a:t>FFP</a:t>
            </a:r>
            <a:r>
              <a:rPr lang="ru-RU" sz="1400" dirty="0"/>
              <a:t>3, заходит через отдельный вход (при наличии), снимает верхнюю одежду (оставляет на выделенной вешалке), обрабатывает руки антисептиком, проходит в </a:t>
            </a:r>
            <a:r>
              <a:rPr lang="ru-RU" sz="1400" dirty="0" smtClean="0"/>
              <a:t>фильтр выделенного зала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Процедуру диализа </a:t>
            </a:r>
            <a:r>
              <a:rPr lang="ru-RU" sz="1400" dirty="0" smtClean="0"/>
              <a:t>пациенты получают </a:t>
            </a:r>
            <a:r>
              <a:rPr lang="ru-RU" sz="1400" dirty="0"/>
              <a:t>на </a:t>
            </a:r>
            <a:r>
              <a:rPr lang="ru-RU" sz="1400" dirty="0" smtClean="0"/>
              <a:t>выделенных </a:t>
            </a:r>
            <a:r>
              <a:rPr lang="ru-RU" sz="1400" dirty="0"/>
              <a:t>АИП</a:t>
            </a:r>
            <a:r>
              <a:rPr lang="ru-RU" sz="1400" dirty="0" smtClean="0"/>
              <a:t>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40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7931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2530" y="329859"/>
            <a:ext cx="11279716" cy="856932"/>
          </a:xfrm>
        </p:spPr>
        <p:txBody>
          <a:bodyPr/>
          <a:lstStyle/>
          <a:p>
            <a:r>
              <a:rPr lang="ru-RU" sz="2000" dirty="0"/>
              <a:t>Инструкция по организации диализа пациенту в условиях ДЦ</a:t>
            </a:r>
            <a:br>
              <a:rPr lang="ru-RU" sz="2000" dirty="0"/>
            </a:br>
            <a:endParaRPr lang="ru-RU" sz="2000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2"/>
          </p:nvPr>
        </p:nvSpPr>
        <p:spPr>
          <a:xfrm>
            <a:off x="468426" y="1154068"/>
            <a:ext cx="11280000" cy="4309183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Медсестра, перед входом в помещение, где находится больной, для предупреждения собственного заражения проводит обработку открытых участков тела антисептиком, надевает противочумный костюм 1 типа (одноразовый халат), бахилы, респиратор, очки, 2 пары перчаток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осле проведенного диализа, обеззараживание СИЗ, магистралей, инструментов, костюма пациента (</a:t>
            </a:r>
            <a:r>
              <a:rPr lang="ru-RU" sz="1400" dirty="0" err="1"/>
              <a:t>одноразоваго</a:t>
            </a:r>
            <a:r>
              <a:rPr lang="ru-RU" sz="1400" dirty="0"/>
              <a:t> халата) и предметов использования у пациента осуществляется химическим способом  методом погружения в емкость с </a:t>
            </a:r>
            <a:r>
              <a:rPr lang="ru-RU" sz="1400" dirty="0" err="1"/>
              <a:t>дезифицирующим</a:t>
            </a:r>
            <a:r>
              <a:rPr lang="ru-RU" sz="1400" dirty="0"/>
              <a:t> растворо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еред началом работы с пациентом, персонал должен пройти подробный инструктаж и проверку полученных знаний. </a:t>
            </a:r>
            <a:r>
              <a:rPr lang="ru-RU" sz="1400" dirty="0" smtClean="0"/>
              <a:t>Персонал должен знать порядок </a:t>
            </a:r>
            <a:r>
              <a:rPr lang="ru-RU" sz="1400" dirty="0"/>
              <a:t>надевания и снятия защитной одежды, проведения заключительной дезинфекции при </a:t>
            </a:r>
            <a:r>
              <a:rPr lang="ru-RU" sz="1400" dirty="0" err="1"/>
              <a:t>коронавирусной</a:t>
            </a:r>
            <a:r>
              <a:rPr lang="ru-RU" sz="1400" dirty="0"/>
              <a:t> инфекции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Для </a:t>
            </a:r>
            <a:r>
              <a:rPr lang="ru-RU" sz="1400" dirty="0"/>
              <a:t>дезинфекции СИЗ, магистралей, инструментов, предметов использования у </a:t>
            </a:r>
            <a:r>
              <a:rPr lang="ru-RU" sz="1400" dirty="0" smtClean="0"/>
              <a:t>больного, </a:t>
            </a:r>
            <a:r>
              <a:rPr lang="ru-RU" sz="1400" dirty="0"/>
              <a:t>а также использованных медсестрой СИЗ используются емкости с маркировкой «отходы класса </a:t>
            </a:r>
            <a:r>
              <a:rPr lang="ru-RU" sz="1400" dirty="0" smtClean="0"/>
              <a:t>В». В емкость вкладывается красный мешок или желтый мешок с красной маркировкой. В мешке делаются отверстия ножницами для стекания раствора после дезинфекции. После </a:t>
            </a:r>
            <a:r>
              <a:rPr lang="ru-RU" sz="1400" dirty="0"/>
              <a:t>дезинфекции отходы утилизируются как отходы класса Б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осле </a:t>
            </a:r>
            <a:r>
              <a:rPr lang="ru-RU" sz="1400" dirty="0"/>
              <a:t>проведения процедуры, данной медсестрой в помещении проводится заключительная дезинфекция с обработкой всех поверхностей (стены, двери, выключатели, дверные ручки) </a:t>
            </a:r>
            <a:r>
              <a:rPr lang="ru-RU" sz="1400" dirty="0" err="1" smtClean="0"/>
              <a:t>дезифицирующим</a:t>
            </a:r>
            <a:r>
              <a:rPr lang="ru-RU" sz="1400" dirty="0" smtClean="0"/>
              <a:t> </a:t>
            </a:r>
            <a:r>
              <a:rPr lang="ru-RU" sz="1400" dirty="0"/>
              <a:t>раствором. После окончания экспозиции, необходимо открыть окна (фрамуги). Максимально проветрить помещение (10 мин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Закрыть </a:t>
            </a:r>
            <a:r>
              <a:rPr lang="ru-RU" sz="1400" dirty="0"/>
              <a:t>окна, включить вентиляцию и бактерицидные облучатели (</a:t>
            </a:r>
            <a:r>
              <a:rPr lang="ru-RU" sz="1400" dirty="0" err="1"/>
              <a:t>рециркуляторы</a:t>
            </a:r>
            <a:r>
              <a:rPr lang="ru-RU" sz="1400" dirty="0"/>
              <a:t>) на 60 мин</a:t>
            </a:r>
            <a:r>
              <a:rPr lang="ru-RU" sz="1400" dirty="0" smtClean="0"/>
              <a:t>.</a:t>
            </a: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3888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439" y="120977"/>
            <a:ext cx="11017249" cy="720081"/>
          </a:xfrm>
        </p:spPr>
        <p:txBody>
          <a:bodyPr/>
          <a:lstStyle/>
          <a:p>
            <a:r>
              <a:rPr lang="ru-RU" sz="2400" dirty="0"/>
              <a:t>Руководящие документы </a:t>
            </a:r>
            <a:r>
              <a:rPr lang="ru-RU" sz="2400" dirty="0" err="1" smtClean="0"/>
              <a:t>роспотребнадзора</a:t>
            </a:r>
            <a:r>
              <a:rPr lang="ru-RU" sz="2400" dirty="0" smtClean="0"/>
              <a:t> </a:t>
            </a:r>
            <a:r>
              <a:rPr lang="ru-RU" sz="2400" dirty="0"/>
              <a:t>по организации работы  условиях пандемии </a:t>
            </a:r>
            <a:r>
              <a:rPr lang="ru-RU" sz="2400" dirty="0" err="1"/>
              <a:t>covid</a:t>
            </a:r>
            <a:r>
              <a:rPr lang="ru-RU" sz="2400" dirty="0"/>
              <a:t> 19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US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013" y="823865"/>
            <a:ext cx="3730805" cy="506323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58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702" y="793778"/>
            <a:ext cx="3722209" cy="4951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9564" y="841058"/>
            <a:ext cx="3705016" cy="496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4806" y="841058"/>
            <a:ext cx="3885540" cy="5028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8167" y="841058"/>
            <a:ext cx="3980099" cy="5106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7634" y="972008"/>
            <a:ext cx="3842558" cy="5149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7492" y="939367"/>
            <a:ext cx="3988696" cy="5106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2321" y="939367"/>
            <a:ext cx="3868347" cy="5106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077" y="1269254"/>
            <a:ext cx="3859750" cy="5140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5367" y="879741"/>
            <a:ext cx="3722209" cy="495148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1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2228" y="909829"/>
            <a:ext cx="3705016" cy="496008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2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6679" y="939367"/>
            <a:ext cx="3885540" cy="502885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411" y="972008"/>
            <a:ext cx="3980099" cy="510621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4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1448" y="1052503"/>
            <a:ext cx="3842558" cy="51491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5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7492" y="1165531"/>
            <a:ext cx="3988696" cy="510621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6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2320" y="1269254"/>
            <a:ext cx="3868347" cy="510621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7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313" y="1347311"/>
            <a:ext cx="3859750" cy="514060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2451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6010" y="300922"/>
            <a:ext cx="11182024" cy="895268"/>
          </a:xfrm>
        </p:spPr>
        <p:txBody>
          <a:bodyPr/>
          <a:lstStyle/>
          <a:p>
            <a:r>
              <a:rPr lang="ru-RU" sz="2000" dirty="0" smtClean="0"/>
              <a:t>Средства индивидуальной защиты, используемые медперсоналом при работе с пациентами в карантинном зале</a:t>
            </a:r>
            <a:endParaRPr lang="ru-RU" sz="2000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2"/>
          </p:nvPr>
        </p:nvSpPr>
        <p:spPr>
          <a:xfrm>
            <a:off x="480000" y="1440000"/>
            <a:ext cx="6215954" cy="3189873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marL="447675" indent="-285750">
              <a:buFont typeface="Arial" panose="020B0604020202020204" pitchFamily="34" charset="0"/>
              <a:buChar char="•"/>
            </a:pPr>
            <a:r>
              <a:rPr lang="ru-RU" dirty="0" smtClean="0"/>
              <a:t>Противочумный костюм 1 типа</a:t>
            </a:r>
          </a:p>
          <a:p>
            <a:pPr marL="447675" indent="-285750">
              <a:buFont typeface="Arial" panose="020B0604020202020204" pitchFamily="34" charset="0"/>
              <a:buChar char="•"/>
            </a:pPr>
            <a:r>
              <a:rPr lang="ru-RU" dirty="0" smtClean="0"/>
              <a:t>Респиратор </a:t>
            </a:r>
            <a:r>
              <a:rPr lang="en-US" dirty="0" smtClean="0"/>
              <a:t>FFP2 </a:t>
            </a:r>
            <a:r>
              <a:rPr lang="ru-RU" dirty="0" smtClean="0"/>
              <a:t>или </a:t>
            </a:r>
            <a:r>
              <a:rPr lang="en-US" dirty="0" smtClean="0"/>
              <a:t>FFP3</a:t>
            </a:r>
            <a:endParaRPr lang="ru-RU" dirty="0" smtClean="0"/>
          </a:p>
          <a:p>
            <a:pPr marL="447675" indent="-285750">
              <a:buFont typeface="Arial" panose="020B0604020202020204" pitchFamily="34" charset="0"/>
              <a:buChar char="•"/>
            </a:pPr>
            <a:r>
              <a:rPr lang="ru-RU" dirty="0" smtClean="0"/>
              <a:t>Защитные очки</a:t>
            </a:r>
          </a:p>
          <a:p>
            <a:pPr marL="447675" indent="-285750">
              <a:buFont typeface="Arial" panose="020B0604020202020204" pitchFamily="34" charset="0"/>
              <a:buChar char="•"/>
            </a:pPr>
            <a:r>
              <a:rPr lang="ru-RU" dirty="0" smtClean="0"/>
              <a:t>2 пары перчаток</a:t>
            </a:r>
          </a:p>
          <a:p>
            <a:endParaRPr lang="ru-RU" dirty="0" smtClean="0"/>
          </a:p>
          <a:p>
            <a:pPr marL="179388"/>
            <a:r>
              <a:rPr lang="ru-RU" dirty="0"/>
              <a:t>Перед началом работы с пациентом, персонал должен пройти подробный инструктаж и проверку полученных знаний. Персонал должен знать порядок надевания и снятия защитной одежды, проведения заключительной дезинфекции при </a:t>
            </a:r>
            <a:r>
              <a:rPr lang="ru-RU" dirty="0" err="1"/>
              <a:t>коронавирусной</a:t>
            </a:r>
            <a:r>
              <a:rPr lang="ru-RU" dirty="0"/>
              <a:t> инфекции. </a:t>
            </a:r>
          </a:p>
          <a:p>
            <a:endParaRPr lang="ru-RU" sz="1600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pic>
        <p:nvPicPr>
          <p:cNvPr id="7" name="Объект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27922" y="1064871"/>
            <a:ext cx="4468189" cy="5216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7454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Состояние дел с </a:t>
            </a:r>
            <a:r>
              <a:rPr lang="en-US" sz="2000" dirty="0" err="1" smtClean="0"/>
              <a:t>covid</a:t>
            </a:r>
            <a:r>
              <a:rPr lang="en-US" sz="2000" dirty="0" smtClean="0"/>
              <a:t> 19</a:t>
            </a:r>
            <a:r>
              <a:rPr lang="ru-RU" sz="2000" dirty="0" smtClean="0"/>
              <a:t> в клиниках </a:t>
            </a:r>
            <a:r>
              <a:rPr lang="en-US" sz="2000" dirty="0" smtClean="0"/>
              <a:t>FMC</a:t>
            </a:r>
            <a:r>
              <a:rPr lang="ru-RU" sz="2000" dirty="0" smtClean="0"/>
              <a:t> </a:t>
            </a:r>
            <a:r>
              <a:rPr lang="ru-RU" sz="2000" dirty="0" err="1" smtClean="0"/>
              <a:t>россии</a:t>
            </a:r>
            <a:r>
              <a:rPr lang="ru-RU" sz="2000" dirty="0" smtClean="0"/>
              <a:t> (81) на 24.04.20</a:t>
            </a:r>
            <a:endParaRPr lang="ru-RU" sz="2000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US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4802718"/>
              </p:ext>
            </p:extLst>
          </p:nvPr>
        </p:nvGraphicFramePr>
        <p:xfrm>
          <a:off x="338602" y="1081615"/>
          <a:ext cx="6803753" cy="52801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7691"/>
                <a:gridCol w="405128"/>
                <a:gridCol w="518325"/>
                <a:gridCol w="703015"/>
                <a:gridCol w="750677"/>
                <a:gridCol w="661310"/>
                <a:gridCol w="708973"/>
                <a:gridCol w="947281"/>
                <a:gridCol w="738761"/>
                <a:gridCol w="762592"/>
              </a:tblGrid>
              <a:tr h="502119"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 dirty="0">
                          <a:effectLst/>
                        </a:rPr>
                        <a:t>Отметка времени</a:t>
                      </a:r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400" u="none" strike="noStrike" dirty="0">
                          <a:effectLst/>
                        </a:rPr>
                        <a:t>ID </a:t>
                      </a:r>
                      <a:r>
                        <a:rPr lang="ru-RU" sz="400" u="none" strike="noStrike" dirty="0">
                          <a:effectLst/>
                        </a:rPr>
                        <a:t>центра (5 цифр)</a:t>
                      </a:r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400" u="none" strike="noStrike" dirty="0">
                          <a:effectLst/>
                        </a:rPr>
                        <a:t>COVID-19 positive patients (</a:t>
                      </a:r>
                      <a:r>
                        <a:rPr lang="ru-RU" sz="400" u="none" strike="noStrike" dirty="0">
                          <a:effectLst/>
                        </a:rPr>
                        <a:t>число </a:t>
                      </a:r>
                      <a:r>
                        <a:rPr lang="en-US" sz="400" u="none" strike="noStrike" dirty="0">
                          <a:effectLst/>
                        </a:rPr>
                        <a:t>COVID-19 </a:t>
                      </a:r>
                      <a:r>
                        <a:rPr lang="ru-RU" sz="400" u="none" strike="noStrike" dirty="0">
                          <a:effectLst/>
                        </a:rPr>
                        <a:t>позитивных пациентов)</a:t>
                      </a:r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 dirty="0">
                          <a:effectLst/>
                        </a:rPr>
                        <a:t>COVID-19 </a:t>
                      </a:r>
                      <a:r>
                        <a:rPr lang="ru-RU" sz="400" u="none" strike="noStrike" dirty="0" err="1">
                          <a:effectLst/>
                        </a:rPr>
                        <a:t>suspected</a:t>
                      </a:r>
                      <a:r>
                        <a:rPr lang="ru-RU" sz="400" u="none" strike="noStrike" dirty="0">
                          <a:effectLst/>
                        </a:rPr>
                        <a:t> </a:t>
                      </a:r>
                      <a:r>
                        <a:rPr lang="ru-RU" sz="400" u="none" strike="noStrike" dirty="0" err="1">
                          <a:effectLst/>
                        </a:rPr>
                        <a:t>patients</a:t>
                      </a:r>
                      <a:r>
                        <a:rPr lang="ru-RU" sz="400" u="none" strike="noStrike" dirty="0">
                          <a:effectLst/>
                        </a:rPr>
                        <a:t> (число пациентов с подозрением на COVID-19)</a:t>
                      </a:r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 dirty="0">
                          <a:effectLst/>
                        </a:rPr>
                        <a:t>COVID 19 </a:t>
                      </a:r>
                      <a:r>
                        <a:rPr lang="ru-RU" sz="400" u="none" strike="noStrike" dirty="0" err="1">
                          <a:effectLst/>
                        </a:rPr>
                        <a:t>tested</a:t>
                      </a:r>
                      <a:r>
                        <a:rPr lang="ru-RU" sz="400" u="none" strike="noStrike" dirty="0">
                          <a:effectLst/>
                        </a:rPr>
                        <a:t> </a:t>
                      </a:r>
                      <a:r>
                        <a:rPr lang="ru-RU" sz="400" u="none" strike="noStrike" dirty="0" err="1">
                          <a:effectLst/>
                        </a:rPr>
                        <a:t>negative</a:t>
                      </a:r>
                      <a:r>
                        <a:rPr lang="ru-RU" sz="400" u="none" strike="noStrike" dirty="0">
                          <a:effectLst/>
                        </a:rPr>
                        <a:t> </a:t>
                      </a:r>
                      <a:r>
                        <a:rPr lang="ru-RU" sz="400" u="none" strike="noStrike" dirty="0" err="1">
                          <a:effectLst/>
                        </a:rPr>
                        <a:t>patients</a:t>
                      </a:r>
                      <a:r>
                        <a:rPr lang="ru-RU" sz="400" u="none" strike="noStrike" dirty="0">
                          <a:effectLst/>
                        </a:rPr>
                        <a:t> (количество пациентов с полученными отрицательными тестами на COVID 19)</a:t>
                      </a:r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 dirty="0" err="1">
                          <a:effectLst/>
                        </a:rPr>
                        <a:t>Other</a:t>
                      </a:r>
                      <a:r>
                        <a:rPr lang="ru-RU" sz="400" u="none" strike="noStrike" dirty="0">
                          <a:effectLst/>
                        </a:rPr>
                        <a:t> </a:t>
                      </a:r>
                      <a:r>
                        <a:rPr lang="ru-RU" sz="400" u="none" strike="noStrike" dirty="0" err="1">
                          <a:effectLst/>
                        </a:rPr>
                        <a:t>patients</a:t>
                      </a:r>
                      <a:r>
                        <a:rPr lang="ru-RU" sz="400" u="none" strike="noStrike" dirty="0">
                          <a:effectLst/>
                        </a:rPr>
                        <a:t> (количество других пациентов не упомянутых ранее)</a:t>
                      </a:r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400" u="none" strike="noStrike" dirty="0">
                          <a:effectLst/>
                        </a:rPr>
                        <a:t>Deceased patients COVID-19 positive (</a:t>
                      </a:r>
                      <a:r>
                        <a:rPr lang="ru-RU" sz="400" u="none" strike="noStrike" dirty="0">
                          <a:effectLst/>
                        </a:rPr>
                        <a:t>количество скончавшихся </a:t>
                      </a:r>
                      <a:r>
                        <a:rPr lang="en-US" sz="400" u="none" strike="noStrike" dirty="0">
                          <a:effectLst/>
                        </a:rPr>
                        <a:t>COVID-19 </a:t>
                      </a:r>
                      <a:r>
                        <a:rPr lang="ru-RU" sz="400" u="none" strike="noStrike" dirty="0">
                          <a:effectLst/>
                        </a:rPr>
                        <a:t>позитивных пациентов)</a:t>
                      </a:r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 dirty="0" err="1">
                          <a:effectLst/>
                        </a:rPr>
                        <a:t>No</a:t>
                      </a:r>
                      <a:r>
                        <a:rPr lang="ru-RU" sz="400" u="none" strike="noStrike" dirty="0">
                          <a:effectLst/>
                        </a:rPr>
                        <a:t>. </a:t>
                      </a:r>
                      <a:r>
                        <a:rPr lang="ru-RU" sz="400" u="none" strike="noStrike" dirty="0" err="1">
                          <a:effectLst/>
                        </a:rPr>
                        <a:t>patients</a:t>
                      </a:r>
                      <a:r>
                        <a:rPr lang="ru-RU" sz="400" u="none" strike="noStrike" dirty="0">
                          <a:effectLst/>
                        </a:rPr>
                        <a:t> </a:t>
                      </a:r>
                      <a:r>
                        <a:rPr lang="ru-RU" sz="400" u="none" strike="noStrike" dirty="0" err="1">
                          <a:effectLst/>
                        </a:rPr>
                        <a:t>treated</a:t>
                      </a:r>
                      <a:r>
                        <a:rPr lang="ru-RU" sz="400" u="none" strike="noStrike" dirty="0">
                          <a:effectLst/>
                        </a:rPr>
                        <a:t> </a:t>
                      </a:r>
                      <a:r>
                        <a:rPr lang="ru-RU" sz="400" u="none" strike="noStrike" dirty="0" err="1">
                          <a:effectLst/>
                        </a:rPr>
                        <a:t>in</a:t>
                      </a:r>
                      <a:r>
                        <a:rPr lang="ru-RU" sz="400" u="none" strike="noStrike" dirty="0">
                          <a:effectLst/>
                        </a:rPr>
                        <a:t> </a:t>
                      </a:r>
                      <a:r>
                        <a:rPr lang="ru-RU" sz="400" u="none" strike="noStrike" dirty="0" err="1">
                          <a:effectLst/>
                        </a:rPr>
                        <a:t>isolation</a:t>
                      </a:r>
                      <a:r>
                        <a:rPr lang="ru-RU" sz="400" u="none" strike="noStrike" dirty="0">
                          <a:effectLst/>
                        </a:rPr>
                        <a:t> (количество пациентов, получающих лечение в условиях изоляции в вашем центре диализа)</a:t>
                      </a:r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 dirty="0" err="1">
                          <a:effectLst/>
                        </a:rPr>
                        <a:t>Comment</a:t>
                      </a:r>
                      <a:r>
                        <a:rPr lang="ru-RU" sz="400" u="none" strike="noStrike" dirty="0">
                          <a:effectLst/>
                        </a:rPr>
                        <a:t> </a:t>
                      </a:r>
                      <a:r>
                        <a:rPr lang="ru-RU" sz="400" u="none" strike="noStrike" dirty="0" err="1">
                          <a:effectLst/>
                        </a:rPr>
                        <a:t>on</a:t>
                      </a:r>
                      <a:r>
                        <a:rPr lang="ru-RU" sz="400" u="none" strike="noStrike" dirty="0">
                          <a:effectLst/>
                        </a:rPr>
                        <a:t> </a:t>
                      </a:r>
                      <a:r>
                        <a:rPr lang="ru-RU" sz="400" u="none" strike="noStrike" dirty="0" err="1">
                          <a:effectLst/>
                        </a:rPr>
                        <a:t>problems</a:t>
                      </a:r>
                      <a:r>
                        <a:rPr lang="ru-RU" sz="400" u="none" strike="noStrike" dirty="0">
                          <a:effectLst/>
                        </a:rPr>
                        <a:t>(Комментарий к наблюдаемым проблемам):</a:t>
                      </a:r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 dirty="0" err="1">
                          <a:effectLst/>
                        </a:rPr>
                        <a:t>Support</a:t>
                      </a:r>
                      <a:r>
                        <a:rPr lang="ru-RU" sz="400" u="none" strike="noStrike" dirty="0">
                          <a:effectLst/>
                        </a:rPr>
                        <a:t> / </a:t>
                      </a:r>
                      <a:r>
                        <a:rPr lang="ru-RU" sz="400" u="none" strike="noStrike" dirty="0" err="1">
                          <a:effectLst/>
                        </a:rPr>
                        <a:t>Escalation</a:t>
                      </a:r>
                      <a:r>
                        <a:rPr lang="ru-RU" sz="400" u="none" strike="noStrike" dirty="0">
                          <a:effectLst/>
                        </a:rPr>
                        <a:t> </a:t>
                      </a:r>
                      <a:r>
                        <a:rPr lang="ru-RU" sz="400" u="none" strike="noStrike" dirty="0" err="1">
                          <a:effectLst/>
                        </a:rPr>
                        <a:t>required</a:t>
                      </a:r>
                      <a:r>
                        <a:rPr lang="ru-RU" sz="400" u="none" strike="noStrike" dirty="0">
                          <a:effectLst/>
                        </a:rPr>
                        <a:t> (Необходимая поддержка/усиление поддержки):</a:t>
                      </a:r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185973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2:5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3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92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10954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3:1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44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1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33160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5:15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75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7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33160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5:44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29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392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33160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5:58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24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4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370215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6:58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04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25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5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>
                          <a:effectLst/>
                        </a:rPr>
                        <a:t>Проблема маршрутизации и обследования сотрудников в регионе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>
                          <a:effectLst/>
                        </a:rPr>
                        <a:t>Инициация монтажа водоподготовки на базе  инф.больницы 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47037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7:54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3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105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13729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7:54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0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13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24832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7:57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09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1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1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117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38711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7:59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62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74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38711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8:19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47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77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47037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8:28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54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68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400" u="none" strike="noStrike">
                          <a:effectLst/>
                        </a:rPr>
                        <a:t>no comment</a:t>
                      </a:r>
                      <a:endParaRPr lang="en-US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400" u="none" strike="noStrike">
                          <a:effectLst/>
                        </a:rPr>
                        <a:t>sufficient support</a:t>
                      </a:r>
                      <a:endParaRPr lang="en-US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16506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8:32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22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9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87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>
                          <a:effectLst/>
                        </a:rPr>
                        <a:t>нет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52589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8:35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6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9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38711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8:36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41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3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52589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8:52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08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75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>
                          <a:effectLst/>
                        </a:rPr>
                        <a:t>нет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>
                          <a:effectLst/>
                        </a:rPr>
                        <a:t>не нужно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24832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8:52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76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125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>
                          <a:effectLst/>
                        </a:rPr>
                        <a:t>-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400" u="none" strike="noStrike">
                          <a:effectLst/>
                        </a:rPr>
                        <a:t>-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24832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8:53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32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5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52589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8:54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49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51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  <a:tr h="238711"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3.04.2020 9:0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2061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71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400" u="none" strike="noStrike">
                          <a:effectLst/>
                        </a:rPr>
                        <a:t>0</a:t>
                      </a:r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303" marR="2303" marT="2303" marB="0" anchor="b"/>
                </a:tc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654893"/>
              </p:ext>
            </p:extLst>
          </p:nvPr>
        </p:nvGraphicFramePr>
        <p:xfrm>
          <a:off x="7283450" y="1106024"/>
          <a:ext cx="3568700" cy="20105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24100"/>
                <a:gridCol w="1244600"/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Reporting Uni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nly for clinics - Situation of patients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>
                          <a:effectLst/>
                        </a:rPr>
                        <a:t>8878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OVID-19 positive patient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>
                          <a:effectLst/>
                        </a:rPr>
                        <a:t>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OVID-19 suspected patient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>
                          <a:effectLst/>
                        </a:rPr>
                        <a:t>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OVID 19 tested negative patient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>
                          <a:effectLst/>
                        </a:rPr>
                        <a:t>4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ther patient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>
                          <a:effectLst/>
                        </a:rPr>
                        <a:t>869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Deceased patients COVID-19 positiv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>
                          <a:effectLst/>
                        </a:rPr>
                        <a:t>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  <a:tr h="26814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No. patients treated in isol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u="none" strike="noStrike" dirty="0">
                          <a:effectLst/>
                        </a:rPr>
                        <a:t>1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7" name="Заголовок 1"/>
          <p:cNvSpPr txBox="1">
            <a:spLocks/>
          </p:cNvSpPr>
          <p:nvPr/>
        </p:nvSpPr>
        <p:spPr bwMode="gray">
          <a:xfrm>
            <a:off x="438833" y="3716238"/>
            <a:ext cx="11017249" cy="72008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>
                <a:latin typeface="Comic Sans MS" panose="030F0702030302020204" pitchFamily="66" charset="0"/>
              </a:rPr>
              <a:t>Спасибо за ваше внимание, здоровья и удачи вашим больным и вам в такое наше время …</a:t>
            </a:r>
            <a:endParaRPr lang="ru-RU" dirty="0">
              <a:latin typeface="Comic Sans MS" panose="030F07020303020202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249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уководящие документы </a:t>
            </a:r>
            <a:r>
              <a:rPr lang="ru-RU" dirty="0" smtClean="0"/>
              <a:t>МЗ РФ и </a:t>
            </a:r>
            <a:r>
              <a:rPr lang="ru-RU" dirty="0" err="1" smtClean="0"/>
              <a:t>роспотребнадзора</a:t>
            </a:r>
            <a:r>
              <a:rPr lang="ru-RU" dirty="0" smtClean="0"/>
              <a:t> </a:t>
            </a:r>
            <a:r>
              <a:rPr lang="ru-RU" dirty="0"/>
              <a:t>по </a:t>
            </a:r>
            <a:r>
              <a:rPr lang="ru-RU" dirty="0" smtClean="0"/>
              <a:t>маршрутизации больных в условиях пандемии </a:t>
            </a:r>
            <a:r>
              <a:rPr lang="ru-RU" dirty="0" err="1"/>
              <a:t>covid</a:t>
            </a:r>
            <a:r>
              <a:rPr lang="ru-RU" dirty="0"/>
              <a:t> 19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GB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pic>
        <p:nvPicPr>
          <p:cNvPr id="8" name="Объект 7"/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1116859" y="1161838"/>
            <a:ext cx="9491339" cy="509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884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0257" y="362153"/>
            <a:ext cx="11017249" cy="720081"/>
          </a:xfrm>
        </p:spPr>
        <p:txBody>
          <a:bodyPr/>
          <a:lstStyle/>
          <a:p>
            <a:r>
              <a:rPr lang="ru-RU" sz="2400" dirty="0"/>
              <a:t>Руководящие документы </a:t>
            </a:r>
            <a:r>
              <a:rPr lang="en-US" sz="2400" dirty="0" smtClean="0"/>
              <a:t>FMC</a:t>
            </a:r>
            <a:r>
              <a:rPr lang="ru-RU" sz="2400" dirty="0" smtClean="0"/>
              <a:t> в </a:t>
            </a:r>
            <a:r>
              <a:rPr lang="ru-RU" sz="2400" dirty="0" err="1" smtClean="0"/>
              <a:t>европе</a:t>
            </a:r>
            <a:r>
              <a:rPr lang="ru-RU" sz="2400" dirty="0" smtClean="0"/>
              <a:t> </a:t>
            </a:r>
            <a:r>
              <a:rPr lang="ru-RU" sz="2400" dirty="0"/>
              <a:t>по организации работы  условиях пандемии </a:t>
            </a:r>
            <a:r>
              <a:rPr lang="ru-RU" sz="2400" dirty="0" err="1"/>
              <a:t>covid</a:t>
            </a:r>
            <a:r>
              <a:rPr lang="ru-RU" sz="2400" dirty="0"/>
              <a:t> 19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К.Гуревич, О.Кодюшева </a:t>
            </a:r>
            <a:r>
              <a:rPr lang="en-US" smtClean="0"/>
              <a:t>COVID19 29 </a:t>
            </a:r>
            <a:r>
              <a:rPr lang="ru-RU" smtClean="0"/>
              <a:t>апр 2020</a:t>
            </a:r>
            <a:endParaRPr lang="de-DE"/>
          </a:p>
        </p:txBody>
      </p:sp>
      <p:pic>
        <p:nvPicPr>
          <p:cNvPr id="33799" name="Picture 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5293" y="2082513"/>
            <a:ext cx="4367755" cy="1921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00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050" y="2118671"/>
            <a:ext cx="4263462" cy="269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01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595" y="3466733"/>
            <a:ext cx="4355578" cy="2416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02" name="Picture 1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4169" y="4004486"/>
            <a:ext cx="3694072" cy="2230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03" name="Picture 1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7644" y="1082234"/>
            <a:ext cx="4338427" cy="256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04" name="Picture 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4636" y="3729460"/>
            <a:ext cx="4002870" cy="266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848" y="1082234"/>
            <a:ext cx="3646662" cy="1961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7117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Ein Bild, das Kleidung enthält.&#10;&#10;Automatisch generierte Beschreibung">
            <a:extLst>
              <a:ext uri="{FF2B5EF4-FFF2-40B4-BE49-F238E27FC236}">
                <a16:creationId xmlns="" xmlns:a16="http://schemas.microsoft.com/office/drawing/2014/main" id="{233010A6-7561-4494-A7FE-1BABB22A292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" b="89"/>
          <a:stretch>
            <a:fillRect/>
          </a:stretch>
        </p:blipFill>
        <p:spPr/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571B668E-049B-4645-A6E9-A9008177D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NC experience exchange call on response to Covid-19 pandemic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="" xmlns:a16="http://schemas.microsoft.com/office/drawing/2014/main" id="{D961032B-1674-4D58-878A-9CAE77B848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16 April, 2020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E56C3966-56FD-42EB-8FE4-6838FCF2F1B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0"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33676EA4-8424-42B9-B5BF-C97AD24C9796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n-NO" sz="26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80707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CBAACDA4-F886-43C4-A8DA-0CB57218C4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3425" y="793750"/>
            <a:ext cx="1581150" cy="31623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E20B012B-0A21-40C5-B5B7-7F8293EDB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F47283-F1A7-4916-B096-5163DBA927DA}" type="datetime1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9/202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="" xmlns:a16="http://schemas.microsoft.com/office/drawing/2014/main" id="{3471538E-0101-4F17-81D5-4EE0F9136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346076"/>
            <a:ext cx="11017249" cy="720081"/>
          </a:xfrm>
        </p:spPr>
        <p:txBody>
          <a:bodyPr/>
          <a:lstStyle/>
          <a:p>
            <a:r>
              <a:rPr lang="pt-PT" dirty="0"/>
              <a:t>country </a:t>
            </a:r>
            <a:r>
              <a:rPr lang="pt-PT" dirty="0" err="1"/>
              <a:t>characterization</a:t>
            </a:r>
            <a:r>
              <a:rPr lang="pt-PT" dirty="0"/>
              <a:t> - Portuga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="" xmlns:a16="http://schemas.microsoft.com/office/drawing/2014/main" id="{6BD71115-2083-4DF5-B212-9DB5016FA48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87375" y="1805945"/>
            <a:ext cx="3770021" cy="3269908"/>
          </a:xfrm>
        </p:spPr>
        <p:txBody>
          <a:bodyPr/>
          <a:lstStyle/>
          <a:p>
            <a:pPr algn="just">
              <a:lnSpc>
                <a:spcPct val="150000"/>
              </a:lnSpc>
              <a:tabLst>
                <a:tab pos="2781300" algn="r"/>
              </a:tabLst>
            </a:pPr>
            <a:r>
              <a:rPr lang="en-US" sz="1200" dirty="0"/>
              <a:t>Population	</a:t>
            </a:r>
            <a:r>
              <a:rPr lang="en-US" sz="1200" b="1" dirty="0"/>
              <a:t>10,280,000</a:t>
            </a:r>
            <a:r>
              <a:rPr lang="en-US" sz="1200" dirty="0"/>
              <a:t>*</a:t>
            </a:r>
            <a:r>
              <a:rPr lang="en-US" sz="1200" dirty="0">
                <a:solidFill>
                  <a:schemeClr val="bg1"/>
                </a:solidFill>
              </a:rPr>
              <a:t>*</a:t>
            </a:r>
          </a:p>
          <a:p>
            <a:pPr algn="just">
              <a:lnSpc>
                <a:spcPct val="150000"/>
              </a:lnSpc>
              <a:tabLst>
                <a:tab pos="2781300" algn="r"/>
              </a:tabLst>
            </a:pPr>
            <a:r>
              <a:rPr lang="en-US" sz="1200" dirty="0"/>
              <a:t>Tests performed	</a:t>
            </a:r>
            <a:r>
              <a:rPr lang="en-US" sz="1200" b="1" dirty="0"/>
              <a:t>208,314</a:t>
            </a:r>
            <a:r>
              <a:rPr lang="en-US" sz="1200" dirty="0"/>
              <a:t>**</a:t>
            </a:r>
          </a:p>
          <a:p>
            <a:pPr algn="just">
              <a:lnSpc>
                <a:spcPct val="150000"/>
              </a:lnSpc>
              <a:tabLst>
                <a:tab pos="2781300" algn="r"/>
              </a:tabLst>
            </a:pPr>
            <a:r>
              <a:rPr lang="en-US" sz="1200" dirty="0"/>
              <a:t>Coronavirus Cases	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8,841</a:t>
            </a:r>
            <a:r>
              <a:rPr lang="en-US" sz="1200" dirty="0"/>
              <a:t>**</a:t>
            </a:r>
          </a:p>
          <a:p>
            <a:pPr algn="just">
              <a:lnSpc>
                <a:spcPct val="150000"/>
              </a:lnSpc>
              <a:tabLst>
                <a:tab pos="2781300" algn="r"/>
              </a:tabLst>
            </a:pPr>
            <a:r>
              <a:rPr lang="en-US" sz="1200" dirty="0"/>
              <a:t>Active cases	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7,719</a:t>
            </a:r>
            <a:r>
              <a:rPr lang="en-US" sz="1200" dirty="0"/>
              <a:t>**</a:t>
            </a:r>
          </a:p>
          <a:p>
            <a:pPr algn="just">
              <a:lnSpc>
                <a:spcPct val="150000"/>
              </a:lnSpc>
              <a:tabLst>
                <a:tab pos="2781300" algn="r"/>
              </a:tabLst>
            </a:pPr>
            <a:r>
              <a:rPr lang="en-US" sz="1200" dirty="0"/>
              <a:t>Deaths	</a:t>
            </a: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629</a:t>
            </a:r>
            <a:r>
              <a:rPr lang="en-US" sz="1200" dirty="0"/>
              <a:t>**</a:t>
            </a:r>
          </a:p>
          <a:p>
            <a:pPr algn="just">
              <a:lnSpc>
                <a:spcPct val="150000"/>
              </a:lnSpc>
              <a:tabLst>
                <a:tab pos="2781300" algn="r"/>
              </a:tabLst>
            </a:pPr>
            <a:r>
              <a:rPr lang="en-US" sz="1200" dirty="0"/>
              <a:t>Recovered	</a:t>
            </a:r>
            <a:r>
              <a:rPr lang="en-US" sz="1200" b="1" dirty="0">
                <a:solidFill>
                  <a:srgbClr val="00B050"/>
                </a:solidFill>
              </a:rPr>
              <a:t>493</a:t>
            </a:r>
            <a:r>
              <a:rPr lang="en-US" sz="1200" dirty="0"/>
              <a:t>**</a:t>
            </a:r>
            <a:endParaRPr lang="pt-PT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DCD23137-FA2B-4249-805D-58DF3CC1BB23}"/>
              </a:ext>
            </a:extLst>
          </p:cNvPr>
          <p:cNvSpPr txBox="1"/>
          <p:nvPr/>
        </p:nvSpPr>
        <p:spPr bwMode="gray">
          <a:xfrm>
            <a:off x="695431" y="5706444"/>
            <a:ext cx="1892194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26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*	- </a:t>
            </a:r>
            <a:r>
              <a:rPr kumimoji="0" lang="en-GB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uroStat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– 2019</a:t>
            </a:r>
          </a:p>
          <a:p>
            <a:pPr marL="0" marR="0" lvl="0" indent="0" algn="l" defTabSz="26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**	- DGS – </a:t>
            </a:r>
            <a:r>
              <a:rPr kumimoji="0" lang="pt-PT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ily</a:t>
            </a:r>
            <a: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pt-PT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port</a:t>
            </a:r>
            <a: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as </a:t>
            </a:r>
            <a:r>
              <a:rPr kumimoji="0" lang="pt-PT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</a:t>
            </a:r>
            <a: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pt-PT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day</a:t>
            </a:r>
            <a:endParaRPr kumimoji="0" lang="pt-PT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26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*** 	- </a:t>
            </a:r>
            <a:r>
              <a:rPr kumimoji="0" lang="pt-PT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orldmeters</a:t>
            </a:r>
            <a: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	</a:t>
            </a:r>
          </a:p>
          <a:p>
            <a:pPr marL="0" marR="0" lvl="0" indent="0" algn="l" defTabSz="26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</a:t>
            </a:r>
            <a: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	- SPN - 2018</a:t>
            </a:r>
          </a:p>
          <a:p>
            <a:pPr marL="0" marR="0" lvl="0" indent="0" algn="l" defTabSz="2698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+</a:t>
            </a:r>
            <a: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	- FME/NC</a:t>
            </a:r>
          </a:p>
        </p:txBody>
      </p:sp>
      <p:sp>
        <p:nvSpPr>
          <p:cNvPr id="16" name="Content Placeholder 7">
            <a:extLst>
              <a:ext uri="{FF2B5EF4-FFF2-40B4-BE49-F238E27FC236}">
                <a16:creationId xmlns="" xmlns:a16="http://schemas.microsoft.com/office/drawing/2014/main" id="{F88893D6-36DB-4E85-985B-F7370F2748CB}"/>
              </a:ext>
            </a:extLst>
          </p:cNvPr>
          <p:cNvSpPr txBox="1">
            <a:spLocks/>
          </p:cNvSpPr>
          <p:nvPr/>
        </p:nvSpPr>
        <p:spPr bwMode="gray">
          <a:xfrm>
            <a:off x="587375" y="4139657"/>
            <a:ext cx="2803992" cy="14326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9575" indent="-2000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896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52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2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52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52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2689225" algn="r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KD 5d  	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,830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2689225" algn="r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nsplanted patients 	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7,816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2689225" algn="r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D patient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	787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2689225" algn="r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D patients  	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2,227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4EF6CAA7-C3DD-4518-9262-F367D87EB45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251" r="23040" b="87307"/>
          <a:stretch/>
        </p:blipFill>
        <p:spPr>
          <a:xfrm>
            <a:off x="587375" y="1293663"/>
            <a:ext cx="1180465" cy="38109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08C30D4F-7240-453E-9271-ED98D28C0E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87713" y="1674759"/>
            <a:ext cx="3030506" cy="4360440"/>
          </a:xfrm>
          <a:prstGeom prst="rect">
            <a:avLst/>
          </a:prstGeom>
        </p:spPr>
      </p:pic>
      <p:sp>
        <p:nvSpPr>
          <p:cNvPr id="26" name="Content Placeholder 7">
            <a:extLst>
              <a:ext uri="{FF2B5EF4-FFF2-40B4-BE49-F238E27FC236}">
                <a16:creationId xmlns="" xmlns:a16="http://schemas.microsoft.com/office/drawing/2014/main" id="{46A8805E-85B0-4947-9342-5339EFDC7985}"/>
              </a:ext>
            </a:extLst>
          </p:cNvPr>
          <p:cNvSpPr txBox="1">
            <a:spLocks/>
          </p:cNvSpPr>
          <p:nvPr/>
        </p:nvSpPr>
        <p:spPr bwMode="gray">
          <a:xfrm>
            <a:off x="7320609" y="2048381"/>
            <a:ext cx="3174106" cy="24019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9575" indent="-2000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8896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2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52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52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52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52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Verdana" panose="020B060403050404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1973263" algn="r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ntr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	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8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+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1973263" algn="r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tients	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,857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+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1973263" algn="r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l FME Staff	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&gt;1,900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+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="" xmlns:a16="http://schemas.microsoft.com/office/drawing/2014/main" id="{9B8A78BF-AF3E-4D89-ACDD-2DF5AC785DB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9830"/>
          <a:stretch/>
        </p:blipFill>
        <p:spPr>
          <a:xfrm>
            <a:off x="7265403" y="1325817"/>
            <a:ext cx="1285263" cy="539242"/>
          </a:xfrm>
          <a:prstGeom prst="rect">
            <a:avLst/>
          </a:prstGeom>
        </p:spPr>
      </p:pic>
      <p:grpSp>
        <p:nvGrpSpPr>
          <p:cNvPr id="17" name="Gruppieren 7">
            <a:extLst>
              <a:ext uri="{FF2B5EF4-FFF2-40B4-BE49-F238E27FC236}">
                <a16:creationId xmlns="" xmlns:a16="http://schemas.microsoft.com/office/drawing/2014/main" id="{ED4FF8FE-7D8E-41C9-AD43-83AF46D0E01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37485" y="1090613"/>
            <a:ext cx="1379979" cy="303213"/>
            <a:chOff x="364785" y="474234"/>
            <a:chExt cx="1720030" cy="377928"/>
          </a:xfrm>
          <a:solidFill>
            <a:schemeClr val="tx2"/>
          </a:solidFill>
        </p:grpSpPr>
        <p:sp>
          <p:nvSpPr>
            <p:cNvPr id="19" name="Freihandform: Form 8">
              <a:extLst>
                <a:ext uri="{FF2B5EF4-FFF2-40B4-BE49-F238E27FC236}">
                  <a16:creationId xmlns="" xmlns:a16="http://schemas.microsoft.com/office/drawing/2014/main" id="{2B6E766D-0040-4D3D-8074-67633E56D474}"/>
                </a:ext>
              </a:extLst>
            </p:cNvPr>
            <p:cNvSpPr/>
            <p:nvPr/>
          </p:nvSpPr>
          <p:spPr bwMode="gray">
            <a:xfrm>
              <a:off x="364785" y="474234"/>
              <a:ext cx="479323" cy="129049"/>
            </a:xfrm>
            <a:custGeom>
              <a:avLst/>
              <a:gdLst>
                <a:gd name="connsiteX0" fmla="*/ 241743 w 479322"/>
                <a:gd name="connsiteY0" fmla="*/ 47248 h 129048"/>
                <a:gd name="connsiteX1" fmla="*/ 6690 w 479322"/>
                <a:gd name="connsiteY1" fmla="*/ 6690 h 129048"/>
                <a:gd name="connsiteX2" fmla="*/ 55544 w 479322"/>
                <a:gd name="connsiteY2" fmla="*/ 85963 h 129048"/>
                <a:gd name="connsiteX3" fmla="*/ 241743 w 479322"/>
                <a:gd name="connsiteY3" fmla="*/ 126521 h 129048"/>
                <a:gd name="connsiteX4" fmla="*/ 427019 w 479322"/>
                <a:gd name="connsiteY4" fmla="*/ 85963 h 129048"/>
                <a:gd name="connsiteX5" fmla="*/ 475873 w 479322"/>
                <a:gd name="connsiteY5" fmla="*/ 669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322" h="129048">
                  <a:moveTo>
                    <a:pt x="241743" y="47248"/>
                  </a:moveTo>
                  <a:lnTo>
                    <a:pt x="6690" y="6690"/>
                  </a:lnTo>
                  <a:lnTo>
                    <a:pt x="55544" y="85963"/>
                  </a:lnTo>
                  <a:lnTo>
                    <a:pt x="241743" y="126521"/>
                  </a:lnTo>
                  <a:lnTo>
                    <a:pt x="427019" y="85963"/>
                  </a:lnTo>
                  <a:lnTo>
                    <a:pt x="475873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ihandform: Form 9">
              <a:extLst>
                <a:ext uri="{FF2B5EF4-FFF2-40B4-BE49-F238E27FC236}">
                  <a16:creationId xmlns="" xmlns:a16="http://schemas.microsoft.com/office/drawing/2014/main" id="{D8B1F880-F813-478A-82D0-CE717974603B}"/>
                </a:ext>
              </a:extLst>
            </p:cNvPr>
            <p:cNvSpPr/>
            <p:nvPr/>
          </p:nvSpPr>
          <p:spPr bwMode="gray">
            <a:xfrm>
              <a:off x="549140" y="759984"/>
              <a:ext cx="110613" cy="92178"/>
            </a:xfrm>
            <a:custGeom>
              <a:avLst/>
              <a:gdLst>
                <a:gd name="connsiteX0" fmla="*/ 57388 w 110612"/>
                <a:gd name="connsiteY0" fmla="*/ 87806 h 92177"/>
                <a:gd name="connsiteX1" fmla="*/ 107164 w 110612"/>
                <a:gd name="connsiteY1" fmla="*/ 6690 h 92177"/>
                <a:gd name="connsiteX2" fmla="*/ 57388 w 110612"/>
                <a:gd name="connsiteY2" fmla="*/ 20517 h 92177"/>
                <a:gd name="connsiteX3" fmla="*/ 6690 w 110612"/>
                <a:gd name="connsiteY3" fmla="*/ 6690 h 92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612" h="92177">
                  <a:moveTo>
                    <a:pt x="57388" y="87806"/>
                  </a:moveTo>
                  <a:lnTo>
                    <a:pt x="107164" y="6690"/>
                  </a:lnTo>
                  <a:lnTo>
                    <a:pt x="57388" y="20517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ihandform: Form 10">
              <a:extLst>
                <a:ext uri="{FF2B5EF4-FFF2-40B4-BE49-F238E27FC236}">
                  <a16:creationId xmlns="" xmlns:a16="http://schemas.microsoft.com/office/drawing/2014/main" id="{EB9152AE-4F78-4F64-A4D3-122A107C8EAE}"/>
                </a:ext>
              </a:extLst>
            </p:cNvPr>
            <p:cNvSpPr/>
            <p:nvPr/>
          </p:nvSpPr>
          <p:spPr bwMode="gray">
            <a:xfrm>
              <a:off x="456962" y="625405"/>
              <a:ext cx="294968" cy="101395"/>
            </a:xfrm>
            <a:custGeom>
              <a:avLst/>
              <a:gdLst>
                <a:gd name="connsiteX0" fmla="*/ 6690 w 294967"/>
                <a:gd name="connsiteY0" fmla="*/ 6690 h 101395"/>
                <a:gd name="connsiteX1" fmla="*/ 149565 w 294967"/>
                <a:gd name="connsiteY1" fmla="*/ 36187 h 101395"/>
                <a:gd name="connsiteX2" fmla="*/ 291519 w 294967"/>
                <a:gd name="connsiteY2" fmla="*/ 6690 h 101395"/>
                <a:gd name="connsiteX3" fmla="*/ 246352 w 294967"/>
                <a:gd name="connsiteY3" fmla="*/ 78589 h 101395"/>
                <a:gd name="connsiteX4" fmla="*/ 149565 w 294967"/>
                <a:gd name="connsiteY4" fmla="*/ 103477 h 101395"/>
                <a:gd name="connsiteX5" fmla="*/ 51857 w 294967"/>
                <a:gd name="connsiteY5" fmla="*/ 78589 h 101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4967" h="101395">
                  <a:moveTo>
                    <a:pt x="6690" y="6690"/>
                  </a:moveTo>
                  <a:lnTo>
                    <a:pt x="149565" y="36187"/>
                  </a:lnTo>
                  <a:lnTo>
                    <a:pt x="291519" y="6690"/>
                  </a:lnTo>
                  <a:lnTo>
                    <a:pt x="246352" y="78589"/>
                  </a:lnTo>
                  <a:lnTo>
                    <a:pt x="149565" y="103477"/>
                  </a:lnTo>
                  <a:lnTo>
                    <a:pt x="51857" y="7858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ihandform: Form 11">
              <a:extLst>
                <a:ext uri="{FF2B5EF4-FFF2-40B4-BE49-F238E27FC236}">
                  <a16:creationId xmlns="" xmlns:a16="http://schemas.microsoft.com/office/drawing/2014/main" id="{E4601399-9F6F-42E9-9711-AC4CFE71E339}"/>
                </a:ext>
              </a:extLst>
            </p:cNvPr>
            <p:cNvSpPr/>
            <p:nvPr/>
          </p:nvSpPr>
          <p:spPr bwMode="gray">
            <a:xfrm>
              <a:off x="1992638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ihandform: Form 12">
              <a:extLst>
                <a:ext uri="{FF2B5EF4-FFF2-40B4-BE49-F238E27FC236}">
                  <a16:creationId xmlns="" xmlns:a16="http://schemas.microsoft.com/office/drawing/2014/main" id="{FBC876F9-16C8-45C8-9409-C30CB8545F26}"/>
                </a:ext>
              </a:extLst>
            </p:cNvPr>
            <p:cNvSpPr/>
            <p:nvPr/>
          </p:nvSpPr>
          <p:spPr bwMode="gray">
            <a:xfrm>
              <a:off x="921536" y="714817"/>
              <a:ext cx="119831" cy="129049"/>
            </a:xfrm>
            <a:custGeom>
              <a:avLst/>
              <a:gdLst>
                <a:gd name="connsiteX0" fmla="*/ 90572 w 119830"/>
                <a:gd name="connsiteY0" fmla="*/ 119147 h 129048"/>
                <a:gd name="connsiteX1" fmla="*/ 90572 w 119830"/>
                <a:gd name="connsiteY1" fmla="*/ 61997 h 129048"/>
                <a:gd name="connsiteX2" fmla="*/ 61997 w 119830"/>
                <a:gd name="connsiteY2" fmla="*/ 122834 h 129048"/>
                <a:gd name="connsiteX3" fmla="*/ 33422 w 119830"/>
                <a:gd name="connsiteY3" fmla="*/ 61997 h 129048"/>
                <a:gd name="connsiteX4" fmla="*/ 33422 w 119830"/>
                <a:gd name="connsiteY4" fmla="*/ 119147 h 129048"/>
                <a:gd name="connsiteX5" fmla="*/ 6690 w 119830"/>
                <a:gd name="connsiteY5" fmla="*/ 119147 h 129048"/>
                <a:gd name="connsiteX6" fmla="*/ 6690 w 119830"/>
                <a:gd name="connsiteY6" fmla="*/ 6690 h 129048"/>
                <a:gd name="connsiteX7" fmla="*/ 33422 w 119830"/>
                <a:gd name="connsiteY7" fmla="*/ 6690 h 129048"/>
                <a:gd name="connsiteX8" fmla="*/ 61997 w 119830"/>
                <a:gd name="connsiteY8" fmla="*/ 69371 h 129048"/>
                <a:gd name="connsiteX9" fmla="*/ 90572 w 119830"/>
                <a:gd name="connsiteY9" fmla="*/ 6690 h 129048"/>
                <a:gd name="connsiteX10" fmla="*/ 117303 w 119830"/>
                <a:gd name="connsiteY10" fmla="*/ 6690 h 129048"/>
                <a:gd name="connsiteX11" fmla="*/ 117303 w 119830"/>
                <a:gd name="connsiteY11" fmla="*/ 119147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830" h="129048">
                  <a:moveTo>
                    <a:pt x="90572" y="119147"/>
                  </a:moveTo>
                  <a:lnTo>
                    <a:pt x="90572" y="61997"/>
                  </a:lnTo>
                  <a:lnTo>
                    <a:pt x="61997" y="122834"/>
                  </a:lnTo>
                  <a:lnTo>
                    <a:pt x="33422" y="61997"/>
                  </a:lnTo>
                  <a:lnTo>
                    <a:pt x="33422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33422" y="6690"/>
                  </a:lnTo>
                  <a:lnTo>
                    <a:pt x="61997" y="69371"/>
                  </a:lnTo>
                  <a:lnTo>
                    <a:pt x="90572" y="6690"/>
                  </a:lnTo>
                  <a:lnTo>
                    <a:pt x="117303" y="6690"/>
                  </a:lnTo>
                  <a:lnTo>
                    <a:pt x="117303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ihandform: Form 13">
              <a:extLst>
                <a:ext uri="{FF2B5EF4-FFF2-40B4-BE49-F238E27FC236}">
                  <a16:creationId xmlns="" xmlns:a16="http://schemas.microsoft.com/office/drawing/2014/main" id="{AAE2F507-94FD-4B69-A4A0-46E50A777423}"/>
                </a:ext>
              </a:extLst>
            </p:cNvPr>
            <p:cNvSpPr/>
            <p:nvPr/>
          </p:nvSpPr>
          <p:spPr bwMode="gray">
            <a:xfrm>
              <a:off x="1154745" y="714817"/>
              <a:ext cx="101395" cy="119831"/>
            </a:xfrm>
            <a:custGeom>
              <a:avLst/>
              <a:gdLst>
                <a:gd name="connsiteX0" fmla="*/ 44483 w 101395"/>
                <a:gd name="connsiteY0" fmla="*/ 31578 h 119830"/>
                <a:gd name="connsiteX1" fmla="*/ 35265 w 101395"/>
                <a:gd name="connsiteY1" fmla="*/ 31578 h 119830"/>
                <a:gd name="connsiteX2" fmla="*/ 35265 w 101395"/>
                <a:gd name="connsiteY2" fmla="*/ 94259 h 119830"/>
                <a:gd name="connsiteX3" fmla="*/ 43561 w 101395"/>
                <a:gd name="connsiteY3" fmla="*/ 94259 h 119830"/>
                <a:gd name="connsiteX4" fmla="*/ 73058 w 101395"/>
                <a:gd name="connsiteY4" fmla="*/ 62919 h 119830"/>
                <a:gd name="connsiteX5" fmla="*/ 44483 w 101395"/>
                <a:gd name="connsiteY5" fmla="*/ 31578 h 119830"/>
                <a:gd name="connsiteX6" fmla="*/ 42640 w 101395"/>
                <a:gd name="connsiteY6" fmla="*/ 119147 h 119830"/>
                <a:gd name="connsiteX7" fmla="*/ 6690 w 101395"/>
                <a:gd name="connsiteY7" fmla="*/ 119147 h 119830"/>
                <a:gd name="connsiteX8" fmla="*/ 6690 w 101395"/>
                <a:gd name="connsiteY8" fmla="*/ 6690 h 119830"/>
                <a:gd name="connsiteX9" fmla="*/ 44483 w 101395"/>
                <a:gd name="connsiteY9" fmla="*/ 6690 h 119830"/>
                <a:gd name="connsiteX10" fmla="*/ 101633 w 101395"/>
                <a:gd name="connsiteY10" fmla="*/ 62919 h 119830"/>
                <a:gd name="connsiteX11" fmla="*/ 42640 w 101395"/>
                <a:gd name="connsiteY11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395" h="119830">
                  <a:moveTo>
                    <a:pt x="44483" y="31578"/>
                  </a:moveTo>
                  <a:lnTo>
                    <a:pt x="35265" y="31578"/>
                  </a:lnTo>
                  <a:lnTo>
                    <a:pt x="35265" y="94259"/>
                  </a:lnTo>
                  <a:lnTo>
                    <a:pt x="43561" y="94259"/>
                  </a:lnTo>
                  <a:cubicBezTo>
                    <a:pt x="64762" y="94259"/>
                    <a:pt x="73058" y="85041"/>
                    <a:pt x="73058" y="62919"/>
                  </a:cubicBezTo>
                  <a:cubicBezTo>
                    <a:pt x="73058" y="40796"/>
                    <a:pt x="65684" y="31578"/>
                    <a:pt x="44483" y="31578"/>
                  </a:cubicBezTo>
                  <a:moveTo>
                    <a:pt x="42640" y="119147"/>
                  </a:moveTo>
                  <a:lnTo>
                    <a:pt x="6690" y="119147"/>
                  </a:lnTo>
                  <a:lnTo>
                    <a:pt x="6690" y="6690"/>
                  </a:lnTo>
                  <a:lnTo>
                    <a:pt x="44483" y="6690"/>
                  </a:lnTo>
                  <a:cubicBezTo>
                    <a:pt x="78589" y="6690"/>
                    <a:pt x="101633" y="20517"/>
                    <a:pt x="101633" y="62919"/>
                  </a:cubicBezTo>
                  <a:cubicBezTo>
                    <a:pt x="102555" y="103477"/>
                    <a:pt x="78589" y="119147"/>
                    <a:pt x="42640" y="119147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ihandform: Form 14">
              <a:extLst>
                <a:ext uri="{FF2B5EF4-FFF2-40B4-BE49-F238E27FC236}">
                  <a16:creationId xmlns="" xmlns:a16="http://schemas.microsoft.com/office/drawing/2014/main" id="{8ADFFA83-28CF-4261-A4E8-58E6E8B8F94A}"/>
                </a:ext>
              </a:extLst>
            </p:cNvPr>
            <p:cNvSpPr/>
            <p:nvPr/>
          </p:nvSpPr>
          <p:spPr bwMode="gray">
            <a:xfrm>
              <a:off x="1266280" y="714817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19147 h 119830"/>
                <a:gd name="connsiteX3" fmla="*/ 6690 w 36870"/>
                <a:gd name="connsiteY3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19147"/>
                  </a:lnTo>
                  <a:lnTo>
                    <a:pt x="6690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ihandform: Form 15">
              <a:extLst>
                <a:ext uri="{FF2B5EF4-FFF2-40B4-BE49-F238E27FC236}">
                  <a16:creationId xmlns="" xmlns:a16="http://schemas.microsoft.com/office/drawing/2014/main" id="{9EB9CAB0-E2A7-49AF-B407-1CFD5D747649}"/>
                </a:ext>
              </a:extLst>
            </p:cNvPr>
            <p:cNvSpPr/>
            <p:nvPr/>
          </p:nvSpPr>
          <p:spPr bwMode="gray">
            <a:xfrm>
              <a:off x="1311447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6606" y="32500"/>
                    <a:pt x="71214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ihandform: Form 16">
              <a:extLst>
                <a:ext uri="{FF2B5EF4-FFF2-40B4-BE49-F238E27FC236}">
                  <a16:creationId xmlns="" xmlns:a16="http://schemas.microsoft.com/office/drawing/2014/main" id="{27B937FF-CA61-439C-AD6C-E2D025B0A5F2}"/>
                </a:ext>
              </a:extLst>
            </p:cNvPr>
            <p:cNvSpPr/>
            <p:nvPr/>
          </p:nvSpPr>
          <p:spPr bwMode="gray">
            <a:xfrm>
              <a:off x="1407311" y="714817"/>
              <a:ext cx="119831" cy="119831"/>
            </a:xfrm>
            <a:custGeom>
              <a:avLst/>
              <a:gdLst>
                <a:gd name="connsiteX0" fmla="*/ 50935 w 119830"/>
                <a:gd name="connsiteY0" fmla="*/ 73980 h 119830"/>
                <a:gd name="connsiteX1" fmla="*/ 73058 w 119830"/>
                <a:gd name="connsiteY1" fmla="*/ 73980 h 119830"/>
                <a:gd name="connsiteX2" fmla="*/ 61997 w 119830"/>
                <a:gd name="connsiteY2" fmla="*/ 38031 h 119830"/>
                <a:gd name="connsiteX3" fmla="*/ 50935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935" y="73980"/>
                  </a:moveTo>
                  <a:lnTo>
                    <a:pt x="73058" y="73980"/>
                  </a:lnTo>
                  <a:lnTo>
                    <a:pt x="61997" y="38031"/>
                  </a:lnTo>
                  <a:lnTo>
                    <a:pt x="50935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ihandform: Form 17">
              <a:extLst>
                <a:ext uri="{FF2B5EF4-FFF2-40B4-BE49-F238E27FC236}">
                  <a16:creationId xmlns="" xmlns:a16="http://schemas.microsoft.com/office/drawing/2014/main" id="{2D3802F1-2DB8-4BBA-8505-F396C773415B}"/>
                </a:ext>
              </a:extLst>
            </p:cNvPr>
            <p:cNvSpPr/>
            <p:nvPr/>
          </p:nvSpPr>
          <p:spPr bwMode="gray">
            <a:xfrm>
              <a:off x="1529907" y="714817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86885 w 92177"/>
                <a:gd name="connsiteY1" fmla="*/ 119147 h 119830"/>
                <a:gd name="connsiteX2" fmla="*/ 86885 w 92177"/>
                <a:gd name="connsiteY2" fmla="*/ 93337 h 119830"/>
                <a:gd name="connsiteX3" fmla="*/ 35265 w 92177"/>
                <a:gd name="connsiteY3" fmla="*/ 93337 h 119830"/>
                <a:gd name="connsiteX4" fmla="*/ 35265 w 92177"/>
                <a:gd name="connsiteY4" fmla="*/ 6690 h 119830"/>
                <a:gd name="connsiteX5" fmla="*/ 6690 w 92177"/>
                <a:gd name="connsiteY5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86885" y="119147"/>
                  </a:lnTo>
                  <a:lnTo>
                    <a:pt x="86885" y="93337"/>
                  </a:lnTo>
                  <a:lnTo>
                    <a:pt x="35265" y="93337"/>
                  </a:lnTo>
                  <a:lnTo>
                    <a:pt x="35265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ihandform: Form 18">
              <a:extLst>
                <a:ext uri="{FF2B5EF4-FFF2-40B4-BE49-F238E27FC236}">
                  <a16:creationId xmlns="" xmlns:a16="http://schemas.microsoft.com/office/drawing/2014/main" id="{C1922198-4814-48BC-8D9F-BABB2044E28D}"/>
                </a:ext>
              </a:extLst>
            </p:cNvPr>
            <p:cNvSpPr/>
            <p:nvPr/>
          </p:nvSpPr>
          <p:spPr bwMode="gray">
            <a:xfrm>
              <a:off x="1663564" y="712052"/>
              <a:ext cx="101395" cy="129049"/>
            </a:xfrm>
            <a:custGeom>
              <a:avLst/>
              <a:gdLst>
                <a:gd name="connsiteX0" fmla="*/ 75823 w 101395"/>
                <a:gd name="connsiteY0" fmla="*/ 48170 h 129048"/>
                <a:gd name="connsiteX1" fmla="*/ 101633 w 101395"/>
                <a:gd name="connsiteY1" fmla="*/ 37109 h 129048"/>
                <a:gd name="connsiteX2" fmla="*/ 57388 w 101395"/>
                <a:gd name="connsiteY2" fmla="*/ 6690 h 129048"/>
                <a:gd name="connsiteX3" fmla="*/ 6690 w 101395"/>
                <a:gd name="connsiteY3" fmla="*/ 64762 h 129048"/>
                <a:gd name="connsiteX4" fmla="*/ 57388 w 101395"/>
                <a:gd name="connsiteY4" fmla="*/ 122834 h 129048"/>
                <a:gd name="connsiteX5" fmla="*/ 102555 w 101395"/>
                <a:gd name="connsiteY5" fmla="*/ 95181 h 129048"/>
                <a:gd name="connsiteX6" fmla="*/ 78589 w 101395"/>
                <a:gd name="connsiteY6" fmla="*/ 82276 h 129048"/>
                <a:gd name="connsiteX7" fmla="*/ 57388 w 101395"/>
                <a:gd name="connsiteY7" fmla="*/ 97946 h 129048"/>
                <a:gd name="connsiteX8" fmla="*/ 36187 w 101395"/>
                <a:gd name="connsiteY8" fmla="*/ 65684 h 129048"/>
                <a:gd name="connsiteX9" fmla="*/ 57388 w 101395"/>
                <a:gd name="connsiteY9" fmla="*/ 33422 h 129048"/>
                <a:gd name="connsiteX10" fmla="*/ 75823 w 101395"/>
                <a:gd name="connsiteY10" fmla="*/ 48170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29048">
                  <a:moveTo>
                    <a:pt x="75823" y="48170"/>
                  </a:moveTo>
                  <a:lnTo>
                    <a:pt x="101633" y="37109"/>
                  </a:lnTo>
                  <a:cubicBezTo>
                    <a:pt x="94259" y="17752"/>
                    <a:pt x="82276" y="6690"/>
                    <a:pt x="57388" y="6690"/>
                  </a:cubicBezTo>
                  <a:cubicBezTo>
                    <a:pt x="26969" y="6690"/>
                    <a:pt x="6690" y="28813"/>
                    <a:pt x="6690" y="64762"/>
                  </a:cubicBezTo>
                  <a:cubicBezTo>
                    <a:pt x="6690" y="98868"/>
                    <a:pt x="25126" y="122834"/>
                    <a:pt x="57388" y="122834"/>
                  </a:cubicBezTo>
                  <a:cubicBezTo>
                    <a:pt x="82276" y="122834"/>
                    <a:pt x="95181" y="109929"/>
                    <a:pt x="102555" y="95181"/>
                  </a:cubicBezTo>
                  <a:lnTo>
                    <a:pt x="78589" y="82276"/>
                  </a:lnTo>
                  <a:cubicBezTo>
                    <a:pt x="72136" y="92415"/>
                    <a:pt x="67527" y="97946"/>
                    <a:pt x="57388" y="97946"/>
                  </a:cubicBezTo>
                  <a:cubicBezTo>
                    <a:pt x="42640" y="97946"/>
                    <a:pt x="36187" y="83198"/>
                    <a:pt x="36187" y="65684"/>
                  </a:cubicBezTo>
                  <a:cubicBezTo>
                    <a:pt x="36187" y="47248"/>
                    <a:pt x="43561" y="33422"/>
                    <a:pt x="57388" y="33422"/>
                  </a:cubicBezTo>
                  <a:cubicBezTo>
                    <a:pt x="67527" y="32500"/>
                    <a:pt x="72136" y="38952"/>
                    <a:pt x="75823" y="48170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ihandform: Form 19">
              <a:extLst>
                <a:ext uri="{FF2B5EF4-FFF2-40B4-BE49-F238E27FC236}">
                  <a16:creationId xmlns="" xmlns:a16="http://schemas.microsoft.com/office/drawing/2014/main" id="{B3AC11F8-5808-4374-8434-82C52C2BF52D}"/>
                </a:ext>
              </a:extLst>
            </p:cNvPr>
            <p:cNvSpPr/>
            <p:nvPr/>
          </p:nvSpPr>
          <p:spPr bwMode="gray">
            <a:xfrm>
              <a:off x="1760351" y="714817"/>
              <a:ext cx="119831" cy="119831"/>
            </a:xfrm>
            <a:custGeom>
              <a:avLst/>
              <a:gdLst>
                <a:gd name="connsiteX0" fmla="*/ 50014 w 119830"/>
                <a:gd name="connsiteY0" fmla="*/ 73980 h 119830"/>
                <a:gd name="connsiteX1" fmla="*/ 72136 w 119830"/>
                <a:gd name="connsiteY1" fmla="*/ 73980 h 119830"/>
                <a:gd name="connsiteX2" fmla="*/ 61075 w 119830"/>
                <a:gd name="connsiteY2" fmla="*/ 38031 h 119830"/>
                <a:gd name="connsiteX3" fmla="*/ 50014 w 119830"/>
                <a:gd name="connsiteY3" fmla="*/ 73980 h 119830"/>
                <a:gd name="connsiteX4" fmla="*/ 86885 w 119830"/>
                <a:gd name="connsiteY4" fmla="*/ 119147 h 119830"/>
                <a:gd name="connsiteX5" fmla="*/ 80432 w 119830"/>
                <a:gd name="connsiteY5" fmla="*/ 97946 h 119830"/>
                <a:gd name="connsiteX6" fmla="*/ 43561 w 119830"/>
                <a:gd name="connsiteY6" fmla="*/ 97946 h 119830"/>
                <a:gd name="connsiteX7" fmla="*/ 37109 w 119830"/>
                <a:gd name="connsiteY7" fmla="*/ 119147 h 119830"/>
                <a:gd name="connsiteX8" fmla="*/ 6690 w 119830"/>
                <a:gd name="connsiteY8" fmla="*/ 119147 h 119830"/>
                <a:gd name="connsiteX9" fmla="*/ 48170 w 119830"/>
                <a:gd name="connsiteY9" fmla="*/ 6690 h 119830"/>
                <a:gd name="connsiteX10" fmla="*/ 76745 w 119830"/>
                <a:gd name="connsiteY10" fmla="*/ 6690 h 119830"/>
                <a:gd name="connsiteX11" fmla="*/ 118225 w 119830"/>
                <a:gd name="connsiteY11" fmla="*/ 119147 h 119830"/>
                <a:gd name="connsiteX12" fmla="*/ 86885 w 119830"/>
                <a:gd name="connsiteY12" fmla="*/ 119147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30" h="119830">
                  <a:moveTo>
                    <a:pt x="50014" y="73980"/>
                  </a:moveTo>
                  <a:lnTo>
                    <a:pt x="72136" y="73980"/>
                  </a:lnTo>
                  <a:lnTo>
                    <a:pt x="61075" y="38031"/>
                  </a:lnTo>
                  <a:lnTo>
                    <a:pt x="50014" y="73980"/>
                  </a:lnTo>
                  <a:close/>
                  <a:moveTo>
                    <a:pt x="86885" y="119147"/>
                  </a:moveTo>
                  <a:lnTo>
                    <a:pt x="80432" y="97946"/>
                  </a:lnTo>
                  <a:lnTo>
                    <a:pt x="43561" y="97946"/>
                  </a:lnTo>
                  <a:lnTo>
                    <a:pt x="37109" y="119147"/>
                  </a:lnTo>
                  <a:lnTo>
                    <a:pt x="6690" y="119147"/>
                  </a:lnTo>
                  <a:lnTo>
                    <a:pt x="48170" y="6690"/>
                  </a:lnTo>
                  <a:lnTo>
                    <a:pt x="76745" y="6690"/>
                  </a:lnTo>
                  <a:lnTo>
                    <a:pt x="118225" y="119147"/>
                  </a:lnTo>
                  <a:lnTo>
                    <a:pt x="86885" y="119147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ihandform: Form 20">
              <a:extLst>
                <a:ext uri="{FF2B5EF4-FFF2-40B4-BE49-F238E27FC236}">
                  <a16:creationId xmlns="" xmlns:a16="http://schemas.microsoft.com/office/drawing/2014/main" id="{7C1A1151-455F-429F-BBEC-2D3F2240B033}"/>
                </a:ext>
              </a:extLst>
            </p:cNvPr>
            <p:cNvSpPr/>
            <p:nvPr/>
          </p:nvSpPr>
          <p:spPr bwMode="gray">
            <a:xfrm>
              <a:off x="1882947" y="714817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1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1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ihandform: Form 21">
              <a:extLst>
                <a:ext uri="{FF2B5EF4-FFF2-40B4-BE49-F238E27FC236}">
                  <a16:creationId xmlns="" xmlns:a16="http://schemas.microsoft.com/office/drawing/2014/main" id="{207A2AC0-D436-40D3-A7B4-2670854FDB24}"/>
                </a:ext>
              </a:extLst>
            </p:cNvPr>
            <p:cNvSpPr/>
            <p:nvPr/>
          </p:nvSpPr>
          <p:spPr bwMode="gray">
            <a:xfrm>
              <a:off x="1054272" y="713895"/>
              <a:ext cx="92177" cy="119831"/>
            </a:xfrm>
            <a:custGeom>
              <a:avLst/>
              <a:gdLst>
                <a:gd name="connsiteX0" fmla="*/ 6690 w 92177"/>
                <a:gd name="connsiteY0" fmla="*/ 120069 h 119830"/>
                <a:gd name="connsiteX1" fmla="*/ 92415 w 92177"/>
                <a:gd name="connsiteY1" fmla="*/ 120069 h 119830"/>
                <a:gd name="connsiteX2" fmla="*/ 92415 w 92177"/>
                <a:gd name="connsiteY2" fmla="*/ 95181 h 119830"/>
                <a:gd name="connsiteX3" fmla="*/ 35265 w 92177"/>
                <a:gd name="connsiteY3" fmla="*/ 95181 h 119830"/>
                <a:gd name="connsiteX4" fmla="*/ 35265 w 92177"/>
                <a:gd name="connsiteY4" fmla="*/ 73058 h 119830"/>
                <a:gd name="connsiteX5" fmla="*/ 70293 w 92177"/>
                <a:gd name="connsiteY5" fmla="*/ 73058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20069"/>
                  </a:moveTo>
                  <a:lnTo>
                    <a:pt x="92415" y="120069"/>
                  </a:lnTo>
                  <a:lnTo>
                    <a:pt x="92415" y="95181"/>
                  </a:lnTo>
                  <a:lnTo>
                    <a:pt x="35265" y="95181"/>
                  </a:lnTo>
                  <a:lnTo>
                    <a:pt x="35265" y="73058"/>
                  </a:lnTo>
                  <a:lnTo>
                    <a:pt x="70293" y="73058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ihandform: Form 22">
              <a:extLst>
                <a:ext uri="{FF2B5EF4-FFF2-40B4-BE49-F238E27FC236}">
                  <a16:creationId xmlns="" xmlns:a16="http://schemas.microsoft.com/office/drawing/2014/main" id="{7C3644CF-E2CD-42AA-8018-0C234EC3FA1C}"/>
                </a:ext>
              </a:extLst>
            </p:cNvPr>
            <p:cNvSpPr/>
            <p:nvPr/>
          </p:nvSpPr>
          <p:spPr bwMode="gray">
            <a:xfrm>
              <a:off x="1695827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90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1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90" y="111773"/>
                    <a:pt x="99790" y="87807"/>
                  </a:cubicBezTo>
                  <a:cubicBezTo>
                    <a:pt x="99790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1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ihandform: Form 23">
              <a:extLst>
                <a:ext uri="{FF2B5EF4-FFF2-40B4-BE49-F238E27FC236}">
                  <a16:creationId xmlns="" xmlns:a16="http://schemas.microsoft.com/office/drawing/2014/main" id="{E4F7F1B7-BFB5-4E13-ADDC-774871A6707C}"/>
                </a:ext>
              </a:extLst>
            </p:cNvPr>
            <p:cNvSpPr/>
            <p:nvPr/>
          </p:nvSpPr>
          <p:spPr bwMode="gray">
            <a:xfrm>
              <a:off x="921536" y="545210"/>
              <a:ext cx="92177" cy="119831"/>
            </a:xfrm>
            <a:custGeom>
              <a:avLst/>
              <a:gdLst>
                <a:gd name="connsiteX0" fmla="*/ 35265 w 92177"/>
                <a:gd name="connsiteY0" fmla="*/ 31578 h 119830"/>
                <a:gd name="connsiteX1" fmla="*/ 35265 w 92177"/>
                <a:gd name="connsiteY1" fmla="*/ 49092 h 119830"/>
                <a:gd name="connsiteX2" fmla="*/ 74902 w 92177"/>
                <a:gd name="connsiteY2" fmla="*/ 49092 h 119830"/>
                <a:gd name="connsiteX3" fmla="*/ 74902 w 92177"/>
                <a:gd name="connsiteY3" fmla="*/ 73980 h 119830"/>
                <a:gd name="connsiteX4" fmla="*/ 35265 w 92177"/>
                <a:gd name="connsiteY4" fmla="*/ 73980 h 119830"/>
                <a:gd name="connsiteX5" fmla="*/ 35265 w 92177"/>
                <a:gd name="connsiteY5" fmla="*/ 119147 h 119830"/>
                <a:gd name="connsiteX6" fmla="*/ 6690 w 92177"/>
                <a:gd name="connsiteY6" fmla="*/ 119147 h 119830"/>
                <a:gd name="connsiteX7" fmla="*/ 6690 w 92177"/>
                <a:gd name="connsiteY7" fmla="*/ 6690 h 119830"/>
                <a:gd name="connsiteX8" fmla="*/ 90572 w 92177"/>
                <a:gd name="connsiteY8" fmla="*/ 6690 h 119830"/>
                <a:gd name="connsiteX9" fmla="*/ 90572 w 92177"/>
                <a:gd name="connsiteY9" fmla="*/ 31578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177" h="119830">
                  <a:moveTo>
                    <a:pt x="35265" y="31578"/>
                  </a:moveTo>
                  <a:lnTo>
                    <a:pt x="35265" y="49092"/>
                  </a:lnTo>
                  <a:lnTo>
                    <a:pt x="74902" y="49092"/>
                  </a:lnTo>
                  <a:lnTo>
                    <a:pt x="74902" y="73980"/>
                  </a:lnTo>
                  <a:lnTo>
                    <a:pt x="35265" y="73980"/>
                  </a:lnTo>
                  <a:lnTo>
                    <a:pt x="35265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90572" y="6690"/>
                  </a:lnTo>
                  <a:lnTo>
                    <a:pt x="90572" y="31578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ihandform: Form 24">
              <a:extLst>
                <a:ext uri="{FF2B5EF4-FFF2-40B4-BE49-F238E27FC236}">
                  <a16:creationId xmlns="" xmlns:a16="http://schemas.microsoft.com/office/drawing/2014/main" id="{09D1C9E8-9C10-44C9-A0F4-2047D207D0F8}"/>
                </a:ext>
              </a:extLst>
            </p:cNvPr>
            <p:cNvSpPr/>
            <p:nvPr/>
          </p:nvSpPr>
          <p:spPr bwMode="gray">
            <a:xfrm>
              <a:off x="1017401" y="545210"/>
              <a:ext cx="101395" cy="119831"/>
            </a:xfrm>
            <a:custGeom>
              <a:avLst/>
              <a:gdLst>
                <a:gd name="connsiteX0" fmla="*/ 56466 w 101395"/>
                <a:gd name="connsiteY0" fmla="*/ 30656 h 119830"/>
                <a:gd name="connsiteX1" fmla="*/ 34344 w 101395"/>
                <a:gd name="connsiteY1" fmla="*/ 30656 h 119830"/>
                <a:gd name="connsiteX2" fmla="*/ 34344 w 101395"/>
                <a:gd name="connsiteY2" fmla="*/ 56466 h 119830"/>
                <a:gd name="connsiteX3" fmla="*/ 56466 w 101395"/>
                <a:gd name="connsiteY3" fmla="*/ 56466 h 119830"/>
                <a:gd name="connsiteX4" fmla="*/ 71214 w 101395"/>
                <a:gd name="connsiteY4" fmla="*/ 42640 h 119830"/>
                <a:gd name="connsiteX5" fmla="*/ 56466 w 101395"/>
                <a:gd name="connsiteY5" fmla="*/ 30656 h 119830"/>
                <a:gd name="connsiteX6" fmla="*/ 69371 w 101395"/>
                <a:gd name="connsiteY6" fmla="*/ 119147 h 119830"/>
                <a:gd name="connsiteX7" fmla="*/ 50014 w 101395"/>
                <a:gd name="connsiteY7" fmla="*/ 80432 h 119830"/>
                <a:gd name="connsiteX8" fmla="*/ 34344 w 101395"/>
                <a:gd name="connsiteY8" fmla="*/ 80432 h 119830"/>
                <a:gd name="connsiteX9" fmla="*/ 34344 w 101395"/>
                <a:gd name="connsiteY9" fmla="*/ 119147 h 119830"/>
                <a:gd name="connsiteX10" fmla="*/ 6690 w 101395"/>
                <a:gd name="connsiteY10" fmla="*/ 119147 h 119830"/>
                <a:gd name="connsiteX11" fmla="*/ 6690 w 101395"/>
                <a:gd name="connsiteY11" fmla="*/ 6690 h 119830"/>
                <a:gd name="connsiteX12" fmla="*/ 58310 w 101395"/>
                <a:gd name="connsiteY12" fmla="*/ 6690 h 119830"/>
                <a:gd name="connsiteX13" fmla="*/ 100711 w 101395"/>
                <a:gd name="connsiteY13" fmla="*/ 43561 h 119830"/>
                <a:gd name="connsiteX14" fmla="*/ 79510 w 101395"/>
                <a:gd name="connsiteY14" fmla="*/ 76745 h 119830"/>
                <a:gd name="connsiteX15" fmla="*/ 101633 w 101395"/>
                <a:gd name="connsiteY15" fmla="*/ 120069 h 119830"/>
                <a:gd name="connsiteX16" fmla="*/ 69371 w 101395"/>
                <a:gd name="connsiteY16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395" h="119830">
                  <a:moveTo>
                    <a:pt x="56466" y="30656"/>
                  </a:moveTo>
                  <a:lnTo>
                    <a:pt x="34344" y="30656"/>
                  </a:lnTo>
                  <a:lnTo>
                    <a:pt x="34344" y="56466"/>
                  </a:lnTo>
                  <a:lnTo>
                    <a:pt x="56466" y="56466"/>
                  </a:lnTo>
                  <a:cubicBezTo>
                    <a:pt x="66606" y="56466"/>
                    <a:pt x="71214" y="51857"/>
                    <a:pt x="71214" y="42640"/>
                  </a:cubicBezTo>
                  <a:cubicBezTo>
                    <a:pt x="71214" y="35265"/>
                    <a:pt x="66606" y="30656"/>
                    <a:pt x="56466" y="30656"/>
                  </a:cubicBezTo>
                  <a:moveTo>
                    <a:pt x="69371" y="119147"/>
                  </a:moveTo>
                  <a:lnTo>
                    <a:pt x="50014" y="80432"/>
                  </a:lnTo>
                  <a:lnTo>
                    <a:pt x="34344" y="80432"/>
                  </a:lnTo>
                  <a:lnTo>
                    <a:pt x="34344" y="119147"/>
                  </a:lnTo>
                  <a:lnTo>
                    <a:pt x="6690" y="119147"/>
                  </a:lnTo>
                  <a:lnTo>
                    <a:pt x="6690" y="6690"/>
                  </a:lnTo>
                  <a:lnTo>
                    <a:pt x="58310" y="6690"/>
                  </a:lnTo>
                  <a:cubicBezTo>
                    <a:pt x="83198" y="6690"/>
                    <a:pt x="100711" y="17752"/>
                    <a:pt x="100711" y="43561"/>
                  </a:cubicBezTo>
                  <a:cubicBezTo>
                    <a:pt x="100711" y="60153"/>
                    <a:pt x="93337" y="71215"/>
                    <a:pt x="79510" y="76745"/>
                  </a:cubicBezTo>
                  <a:lnTo>
                    <a:pt x="101633" y="120069"/>
                  </a:lnTo>
                  <a:lnTo>
                    <a:pt x="69371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ihandform: Form 25">
              <a:extLst>
                <a:ext uri="{FF2B5EF4-FFF2-40B4-BE49-F238E27FC236}">
                  <a16:creationId xmlns="" xmlns:a16="http://schemas.microsoft.com/office/drawing/2014/main" id="{8CCC5563-F5BC-4D14-9B76-08B2A530A13E}"/>
                </a:ext>
              </a:extLst>
            </p:cNvPr>
            <p:cNvSpPr/>
            <p:nvPr/>
          </p:nvSpPr>
          <p:spPr bwMode="gray">
            <a:xfrm>
              <a:off x="1127092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1494 w 92177"/>
                <a:gd name="connsiteY1" fmla="*/ 119147 h 119830"/>
                <a:gd name="connsiteX2" fmla="*/ 91494 w 92177"/>
                <a:gd name="connsiteY2" fmla="*/ 94259 h 119830"/>
                <a:gd name="connsiteX3" fmla="*/ 34344 w 92177"/>
                <a:gd name="connsiteY3" fmla="*/ 94259 h 119830"/>
                <a:gd name="connsiteX4" fmla="*/ 34344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4344 w 92177"/>
                <a:gd name="connsiteY7" fmla="*/ 48170 h 119830"/>
                <a:gd name="connsiteX8" fmla="*/ 34344 w 92177"/>
                <a:gd name="connsiteY8" fmla="*/ 31578 h 119830"/>
                <a:gd name="connsiteX9" fmla="*/ 87806 w 92177"/>
                <a:gd name="connsiteY9" fmla="*/ 31578 h 119830"/>
                <a:gd name="connsiteX10" fmla="*/ 87806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1494" y="119147"/>
                  </a:lnTo>
                  <a:lnTo>
                    <a:pt x="91494" y="94259"/>
                  </a:lnTo>
                  <a:lnTo>
                    <a:pt x="34344" y="94259"/>
                  </a:lnTo>
                  <a:lnTo>
                    <a:pt x="34344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4344" y="48170"/>
                  </a:lnTo>
                  <a:lnTo>
                    <a:pt x="34344" y="31578"/>
                  </a:lnTo>
                  <a:lnTo>
                    <a:pt x="87806" y="31578"/>
                  </a:lnTo>
                  <a:lnTo>
                    <a:pt x="87806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ihandform: Form 26">
              <a:extLst>
                <a:ext uri="{FF2B5EF4-FFF2-40B4-BE49-F238E27FC236}">
                  <a16:creationId xmlns="" xmlns:a16="http://schemas.microsoft.com/office/drawing/2014/main" id="{004CD588-1D64-404D-B1C9-13D6D0A33FC4}"/>
                </a:ext>
              </a:extLst>
            </p:cNvPr>
            <p:cNvSpPr/>
            <p:nvPr/>
          </p:nvSpPr>
          <p:spPr bwMode="gray">
            <a:xfrm>
              <a:off x="1217426" y="542445"/>
              <a:ext cx="101395" cy="129049"/>
            </a:xfrm>
            <a:custGeom>
              <a:avLst/>
              <a:gdLst>
                <a:gd name="connsiteX0" fmla="*/ 53701 w 101395"/>
                <a:gd name="connsiteY0" fmla="*/ 123756 h 129048"/>
                <a:gd name="connsiteX1" fmla="*/ 99789 w 101395"/>
                <a:gd name="connsiteY1" fmla="*/ 87807 h 129048"/>
                <a:gd name="connsiteX2" fmla="*/ 60153 w 101395"/>
                <a:gd name="connsiteY2" fmla="*/ 51857 h 129048"/>
                <a:gd name="connsiteX3" fmla="*/ 39874 w 101395"/>
                <a:gd name="connsiteY3" fmla="*/ 40796 h 129048"/>
                <a:gd name="connsiteX4" fmla="*/ 52779 w 101395"/>
                <a:gd name="connsiteY4" fmla="*/ 32500 h 129048"/>
                <a:gd name="connsiteX5" fmla="*/ 82276 w 101395"/>
                <a:gd name="connsiteY5" fmla="*/ 42640 h 129048"/>
                <a:gd name="connsiteX6" fmla="*/ 97946 w 101395"/>
                <a:gd name="connsiteY6" fmla="*/ 21439 h 129048"/>
                <a:gd name="connsiteX7" fmla="*/ 54623 w 101395"/>
                <a:gd name="connsiteY7" fmla="*/ 6690 h 129048"/>
                <a:gd name="connsiteX8" fmla="*/ 11299 w 101395"/>
                <a:gd name="connsiteY8" fmla="*/ 41718 h 129048"/>
                <a:gd name="connsiteX9" fmla="*/ 50014 w 101395"/>
                <a:gd name="connsiteY9" fmla="*/ 76745 h 129048"/>
                <a:gd name="connsiteX10" fmla="*/ 71214 w 101395"/>
                <a:gd name="connsiteY10" fmla="*/ 88728 h 129048"/>
                <a:gd name="connsiteX11" fmla="*/ 54623 w 101395"/>
                <a:gd name="connsiteY11" fmla="*/ 97946 h 129048"/>
                <a:gd name="connsiteX12" fmla="*/ 22360 w 101395"/>
                <a:gd name="connsiteY12" fmla="*/ 86885 h 129048"/>
                <a:gd name="connsiteX13" fmla="*/ 6690 w 101395"/>
                <a:gd name="connsiteY13" fmla="*/ 108086 h 129048"/>
                <a:gd name="connsiteX14" fmla="*/ 53701 w 101395"/>
                <a:gd name="connsiteY14" fmla="*/ 123756 h 12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395" h="129048">
                  <a:moveTo>
                    <a:pt x="53701" y="123756"/>
                  </a:moveTo>
                  <a:cubicBezTo>
                    <a:pt x="82276" y="123756"/>
                    <a:pt x="99789" y="111773"/>
                    <a:pt x="99789" y="87807"/>
                  </a:cubicBezTo>
                  <a:cubicBezTo>
                    <a:pt x="99789" y="65684"/>
                    <a:pt x="85041" y="57388"/>
                    <a:pt x="60153" y="51857"/>
                  </a:cubicBezTo>
                  <a:cubicBezTo>
                    <a:pt x="44483" y="48170"/>
                    <a:pt x="39874" y="46327"/>
                    <a:pt x="39874" y="40796"/>
                  </a:cubicBezTo>
                  <a:cubicBezTo>
                    <a:pt x="39874" y="36187"/>
                    <a:pt x="42640" y="32500"/>
                    <a:pt x="52779" y="32500"/>
                  </a:cubicBezTo>
                  <a:cubicBezTo>
                    <a:pt x="63840" y="32500"/>
                    <a:pt x="73058" y="36187"/>
                    <a:pt x="82276" y="42640"/>
                  </a:cubicBezTo>
                  <a:lnTo>
                    <a:pt x="97946" y="21439"/>
                  </a:lnTo>
                  <a:cubicBezTo>
                    <a:pt x="86885" y="12221"/>
                    <a:pt x="73058" y="6690"/>
                    <a:pt x="54623" y="6690"/>
                  </a:cubicBezTo>
                  <a:cubicBezTo>
                    <a:pt x="28813" y="6690"/>
                    <a:pt x="11299" y="20517"/>
                    <a:pt x="11299" y="41718"/>
                  </a:cubicBezTo>
                  <a:cubicBezTo>
                    <a:pt x="11299" y="63840"/>
                    <a:pt x="25126" y="71215"/>
                    <a:pt x="50014" y="76745"/>
                  </a:cubicBezTo>
                  <a:cubicBezTo>
                    <a:pt x="67527" y="80432"/>
                    <a:pt x="71214" y="83198"/>
                    <a:pt x="71214" y="88728"/>
                  </a:cubicBezTo>
                  <a:cubicBezTo>
                    <a:pt x="71214" y="95181"/>
                    <a:pt x="66606" y="97946"/>
                    <a:pt x="54623" y="97946"/>
                  </a:cubicBezTo>
                  <a:cubicBezTo>
                    <a:pt x="43561" y="97946"/>
                    <a:pt x="30656" y="93337"/>
                    <a:pt x="22360" y="86885"/>
                  </a:cubicBezTo>
                  <a:lnTo>
                    <a:pt x="6690" y="108086"/>
                  </a:lnTo>
                  <a:cubicBezTo>
                    <a:pt x="17752" y="117303"/>
                    <a:pt x="35265" y="123756"/>
                    <a:pt x="53701" y="123756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ihandform: Form 27">
              <a:extLst>
                <a:ext uri="{FF2B5EF4-FFF2-40B4-BE49-F238E27FC236}">
                  <a16:creationId xmlns="" xmlns:a16="http://schemas.microsoft.com/office/drawing/2014/main" id="{EE9B317C-1715-4D0A-A147-39C0BF04A9C1}"/>
                </a:ext>
              </a:extLst>
            </p:cNvPr>
            <p:cNvSpPr/>
            <p:nvPr/>
          </p:nvSpPr>
          <p:spPr bwMode="gray">
            <a:xfrm>
              <a:off x="1325273" y="545210"/>
              <a:ext cx="92177" cy="119831"/>
            </a:xfrm>
            <a:custGeom>
              <a:avLst/>
              <a:gdLst>
                <a:gd name="connsiteX0" fmla="*/ 6690 w 92177"/>
                <a:gd name="connsiteY0" fmla="*/ 119147 h 119830"/>
                <a:gd name="connsiteX1" fmla="*/ 92415 w 92177"/>
                <a:gd name="connsiteY1" fmla="*/ 119147 h 119830"/>
                <a:gd name="connsiteX2" fmla="*/ 92415 w 92177"/>
                <a:gd name="connsiteY2" fmla="*/ 94259 h 119830"/>
                <a:gd name="connsiteX3" fmla="*/ 35265 w 92177"/>
                <a:gd name="connsiteY3" fmla="*/ 94259 h 119830"/>
                <a:gd name="connsiteX4" fmla="*/ 35265 w 92177"/>
                <a:gd name="connsiteY4" fmla="*/ 72136 h 119830"/>
                <a:gd name="connsiteX5" fmla="*/ 70293 w 92177"/>
                <a:gd name="connsiteY5" fmla="*/ 72136 h 119830"/>
                <a:gd name="connsiteX6" fmla="*/ 70293 w 92177"/>
                <a:gd name="connsiteY6" fmla="*/ 48170 h 119830"/>
                <a:gd name="connsiteX7" fmla="*/ 35265 w 92177"/>
                <a:gd name="connsiteY7" fmla="*/ 48170 h 119830"/>
                <a:gd name="connsiteX8" fmla="*/ 35265 w 92177"/>
                <a:gd name="connsiteY8" fmla="*/ 31578 h 119830"/>
                <a:gd name="connsiteX9" fmla="*/ 88728 w 92177"/>
                <a:gd name="connsiteY9" fmla="*/ 31578 h 119830"/>
                <a:gd name="connsiteX10" fmla="*/ 88728 w 92177"/>
                <a:gd name="connsiteY10" fmla="*/ 6690 h 119830"/>
                <a:gd name="connsiteX11" fmla="*/ 6690 w 92177"/>
                <a:gd name="connsiteY11" fmla="*/ 6690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177" h="119830">
                  <a:moveTo>
                    <a:pt x="6690" y="119147"/>
                  </a:moveTo>
                  <a:lnTo>
                    <a:pt x="92415" y="119147"/>
                  </a:lnTo>
                  <a:lnTo>
                    <a:pt x="92415" y="94259"/>
                  </a:lnTo>
                  <a:lnTo>
                    <a:pt x="35265" y="94259"/>
                  </a:lnTo>
                  <a:lnTo>
                    <a:pt x="35265" y="72136"/>
                  </a:lnTo>
                  <a:lnTo>
                    <a:pt x="70293" y="72136"/>
                  </a:lnTo>
                  <a:lnTo>
                    <a:pt x="70293" y="48170"/>
                  </a:lnTo>
                  <a:lnTo>
                    <a:pt x="35265" y="48170"/>
                  </a:lnTo>
                  <a:lnTo>
                    <a:pt x="35265" y="31578"/>
                  </a:lnTo>
                  <a:lnTo>
                    <a:pt x="88728" y="31578"/>
                  </a:lnTo>
                  <a:lnTo>
                    <a:pt x="88728" y="6690"/>
                  </a:lnTo>
                  <a:lnTo>
                    <a:pt x="6690" y="6690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ihandform: Form 28">
              <a:extLst>
                <a:ext uri="{FF2B5EF4-FFF2-40B4-BE49-F238E27FC236}">
                  <a16:creationId xmlns="" xmlns:a16="http://schemas.microsoft.com/office/drawing/2014/main" id="{8BC503CE-7E31-4505-A255-2BABC0DE05F9}"/>
                </a:ext>
              </a:extLst>
            </p:cNvPr>
            <p:cNvSpPr/>
            <p:nvPr/>
          </p:nvSpPr>
          <p:spPr bwMode="gray">
            <a:xfrm>
              <a:off x="1424825" y="545210"/>
              <a:ext cx="101395" cy="119831"/>
            </a:xfrm>
            <a:custGeom>
              <a:avLst/>
              <a:gdLst>
                <a:gd name="connsiteX0" fmla="*/ 79510 w 101395"/>
                <a:gd name="connsiteY0" fmla="*/ 119147 h 119830"/>
                <a:gd name="connsiteX1" fmla="*/ 103477 w 101395"/>
                <a:gd name="connsiteY1" fmla="*/ 119147 h 119830"/>
                <a:gd name="connsiteX2" fmla="*/ 103477 w 101395"/>
                <a:gd name="connsiteY2" fmla="*/ 6690 h 119830"/>
                <a:gd name="connsiteX3" fmla="*/ 75823 w 101395"/>
                <a:gd name="connsiteY3" fmla="*/ 6690 h 119830"/>
                <a:gd name="connsiteX4" fmla="*/ 75823 w 101395"/>
                <a:gd name="connsiteY4" fmla="*/ 67527 h 119830"/>
                <a:gd name="connsiteX5" fmla="*/ 31578 w 101395"/>
                <a:gd name="connsiteY5" fmla="*/ 6690 h 119830"/>
                <a:gd name="connsiteX6" fmla="*/ 6690 w 101395"/>
                <a:gd name="connsiteY6" fmla="*/ 6690 h 119830"/>
                <a:gd name="connsiteX7" fmla="*/ 6690 w 101395"/>
                <a:gd name="connsiteY7" fmla="*/ 119147 h 119830"/>
                <a:gd name="connsiteX8" fmla="*/ 33422 w 101395"/>
                <a:gd name="connsiteY8" fmla="*/ 119147 h 119830"/>
                <a:gd name="connsiteX9" fmla="*/ 33422 w 101395"/>
                <a:gd name="connsiteY9" fmla="*/ 54623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1395" h="119830">
                  <a:moveTo>
                    <a:pt x="79510" y="119147"/>
                  </a:moveTo>
                  <a:lnTo>
                    <a:pt x="103477" y="119147"/>
                  </a:lnTo>
                  <a:lnTo>
                    <a:pt x="103477" y="6690"/>
                  </a:lnTo>
                  <a:lnTo>
                    <a:pt x="75823" y="6690"/>
                  </a:lnTo>
                  <a:lnTo>
                    <a:pt x="75823" y="67527"/>
                  </a:lnTo>
                  <a:lnTo>
                    <a:pt x="31578" y="6690"/>
                  </a:lnTo>
                  <a:lnTo>
                    <a:pt x="6690" y="6690"/>
                  </a:lnTo>
                  <a:lnTo>
                    <a:pt x="6690" y="119147"/>
                  </a:lnTo>
                  <a:lnTo>
                    <a:pt x="33422" y="119147"/>
                  </a:lnTo>
                  <a:lnTo>
                    <a:pt x="33422" y="54623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ihandform: Form 29">
              <a:extLst>
                <a:ext uri="{FF2B5EF4-FFF2-40B4-BE49-F238E27FC236}">
                  <a16:creationId xmlns="" xmlns:a16="http://schemas.microsoft.com/office/drawing/2014/main" id="{08FE5713-767D-4D7D-A3B6-78608CA87BBD}"/>
                </a:ext>
              </a:extLst>
            </p:cNvPr>
            <p:cNvSpPr/>
            <p:nvPr/>
          </p:nvSpPr>
          <p:spPr bwMode="gray">
            <a:xfrm>
              <a:off x="1541890" y="545210"/>
              <a:ext cx="36871" cy="119831"/>
            </a:xfrm>
            <a:custGeom>
              <a:avLst/>
              <a:gdLst>
                <a:gd name="connsiteX0" fmla="*/ 6690 w 36870"/>
                <a:gd name="connsiteY0" fmla="*/ 6690 h 119830"/>
                <a:gd name="connsiteX1" fmla="*/ 35265 w 36870"/>
                <a:gd name="connsiteY1" fmla="*/ 6690 h 119830"/>
                <a:gd name="connsiteX2" fmla="*/ 35265 w 36870"/>
                <a:gd name="connsiteY2" fmla="*/ 120069 h 119830"/>
                <a:gd name="connsiteX3" fmla="*/ 6690 w 36870"/>
                <a:gd name="connsiteY3" fmla="*/ 120069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870" h="119830">
                  <a:moveTo>
                    <a:pt x="6690" y="6690"/>
                  </a:moveTo>
                  <a:lnTo>
                    <a:pt x="35265" y="6690"/>
                  </a:lnTo>
                  <a:lnTo>
                    <a:pt x="35265" y="120069"/>
                  </a:lnTo>
                  <a:lnTo>
                    <a:pt x="6690" y="120069"/>
                  </a:lnTo>
                  <a:close/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ihandform: Form 30">
              <a:extLst>
                <a:ext uri="{FF2B5EF4-FFF2-40B4-BE49-F238E27FC236}">
                  <a16:creationId xmlns="" xmlns:a16="http://schemas.microsoft.com/office/drawing/2014/main" id="{12A4F7FB-722F-4D9F-9C08-612C8900A21D}"/>
                </a:ext>
              </a:extLst>
            </p:cNvPr>
            <p:cNvSpPr/>
            <p:nvPr/>
          </p:nvSpPr>
          <p:spPr bwMode="gray">
            <a:xfrm>
              <a:off x="1590713" y="544289"/>
              <a:ext cx="101395" cy="119831"/>
            </a:xfrm>
            <a:custGeom>
              <a:avLst/>
              <a:gdLst>
                <a:gd name="connsiteX0" fmla="*/ 53732 w 101395"/>
                <a:gd name="connsiteY0" fmla="*/ 121912 h 119830"/>
                <a:gd name="connsiteX1" fmla="*/ 102586 w 101395"/>
                <a:gd name="connsiteY1" fmla="*/ 71215 h 119830"/>
                <a:gd name="connsiteX2" fmla="*/ 102586 w 101395"/>
                <a:gd name="connsiteY2" fmla="*/ 6690 h 119830"/>
                <a:gd name="connsiteX3" fmla="*/ 74011 w 101395"/>
                <a:gd name="connsiteY3" fmla="*/ 6690 h 119830"/>
                <a:gd name="connsiteX4" fmla="*/ 74011 w 101395"/>
                <a:gd name="connsiteY4" fmla="*/ 71215 h 119830"/>
                <a:gd name="connsiteX5" fmla="*/ 54654 w 101395"/>
                <a:gd name="connsiteY5" fmla="*/ 96102 h 119830"/>
                <a:gd name="connsiteX6" fmla="*/ 35297 w 101395"/>
                <a:gd name="connsiteY6" fmla="*/ 71215 h 119830"/>
                <a:gd name="connsiteX7" fmla="*/ 35297 w 101395"/>
                <a:gd name="connsiteY7" fmla="*/ 6690 h 119830"/>
                <a:gd name="connsiteX8" fmla="*/ 6722 w 101395"/>
                <a:gd name="connsiteY8" fmla="*/ 6690 h 119830"/>
                <a:gd name="connsiteX9" fmla="*/ 6722 w 101395"/>
                <a:gd name="connsiteY9" fmla="*/ 71215 h 119830"/>
                <a:gd name="connsiteX10" fmla="*/ 53732 w 101395"/>
                <a:gd name="connsiteY10" fmla="*/ 121912 h 11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395" h="119830">
                  <a:moveTo>
                    <a:pt x="53732" y="121912"/>
                  </a:moveTo>
                  <a:cubicBezTo>
                    <a:pt x="82307" y="121912"/>
                    <a:pt x="102586" y="106242"/>
                    <a:pt x="102586" y="71215"/>
                  </a:cubicBezTo>
                  <a:lnTo>
                    <a:pt x="102586" y="6690"/>
                  </a:lnTo>
                  <a:lnTo>
                    <a:pt x="74011" y="6690"/>
                  </a:lnTo>
                  <a:lnTo>
                    <a:pt x="74011" y="71215"/>
                  </a:lnTo>
                  <a:cubicBezTo>
                    <a:pt x="74011" y="86885"/>
                    <a:pt x="67559" y="96102"/>
                    <a:pt x="54654" y="96102"/>
                  </a:cubicBezTo>
                  <a:cubicBezTo>
                    <a:pt x="41749" y="96102"/>
                    <a:pt x="35297" y="86885"/>
                    <a:pt x="35297" y="71215"/>
                  </a:cubicBezTo>
                  <a:lnTo>
                    <a:pt x="35297" y="6690"/>
                  </a:lnTo>
                  <a:lnTo>
                    <a:pt x="6722" y="6690"/>
                  </a:lnTo>
                  <a:lnTo>
                    <a:pt x="6722" y="71215"/>
                  </a:lnTo>
                  <a:cubicBezTo>
                    <a:pt x="5800" y="106242"/>
                    <a:pt x="25157" y="121912"/>
                    <a:pt x="53732" y="121912"/>
                  </a:cubicBezTo>
                </a:path>
              </a:pathLst>
            </a:custGeom>
            <a:grpFill/>
            <a:ln w="9218" cap="flat">
              <a:noFill/>
              <a:prstDash val="solid"/>
              <a:miter/>
            </a:ln>
          </p:spPr>
          <p:txBody>
            <a:bodyPr lIns="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50" name="Picture 49">
            <a:extLst>
              <a:ext uri="{FF2B5EF4-FFF2-40B4-BE49-F238E27FC236}">
                <a16:creationId xmlns="" xmlns:a16="http://schemas.microsoft.com/office/drawing/2014/main" id="{791D4F35-E44D-42EE-902B-1C2F15F9CD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101" y="4034635"/>
            <a:ext cx="3499038" cy="2459183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EB1EAF38-54FB-41C4-97C0-411D0D32A557}"/>
              </a:ext>
            </a:extLst>
          </p:cNvPr>
          <p:cNvSpPr txBox="1"/>
          <p:nvPr/>
        </p:nvSpPr>
        <p:spPr bwMode="gray">
          <a:xfrm>
            <a:off x="4051300" y="3835400"/>
            <a:ext cx="303929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tal </a:t>
            </a:r>
            <a:r>
              <a:rPr kumimoji="0" lang="pt-PT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ronavirus</a:t>
            </a:r>
            <a:r>
              <a:rPr kumimoji="0" lang="pt-PT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Cases in Portugal 	***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 smtClean="0"/>
              <a:t>К.Гуревич, О.Кодюшева </a:t>
            </a:r>
            <a:r>
              <a:rPr lang="en-US" noProof="0" smtClean="0"/>
              <a:t>COVID19 29 </a:t>
            </a:r>
            <a:r>
              <a:rPr lang="ru-RU" noProof="0" smtClean="0"/>
              <a:t>апр 2020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63876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7E46A6C-5463-406B-B912-BF6D86E844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64622" y="6607764"/>
            <a:ext cx="843378" cy="15287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6.04.2020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FC76813C-1CDE-4C9C-AFEB-0690E2AA3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303146" y="6661568"/>
            <a:ext cx="3657600" cy="16927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К.Гуревич, О.Кодюшева </a:t>
            </a:r>
            <a:r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VID19 29 </a:t>
            </a:r>
            <a:r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апр 2020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="" xmlns:a16="http://schemas.microsoft.com/office/drawing/2014/main" id="{BFE149A0-D0EE-48BC-86D2-A583261D3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346076"/>
            <a:ext cx="11017249" cy="435601"/>
          </a:xfrm>
        </p:spPr>
        <p:txBody>
          <a:bodyPr/>
          <a:lstStyle/>
          <a:p>
            <a:r>
              <a:rPr lang="en-US" dirty="0"/>
              <a:t>Covid-19 COUNTRY DATA ROMANIA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3F6E7D37-4516-40B1-AE12-EFD1308C405E}"/>
              </a:ext>
            </a:extLst>
          </p:cNvPr>
          <p:cNvSpPr txBox="1"/>
          <p:nvPr/>
        </p:nvSpPr>
        <p:spPr bwMode="gray">
          <a:xfrm>
            <a:off x="587374" y="1731146"/>
            <a:ext cx="3753807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MMA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•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umber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cases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creased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ith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8.9%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mpared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vious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eriod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( 5-10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pril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2020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• 51% of cases only in 5 counties Suceava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curest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Hunedoara , Timisoara and Neam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• FMC dialysis centers in all these 5 counties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• 60.4%  of deaths in 5 counties Suceava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curest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Hunedoara , Timisoara and Ar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• 1 in 8 cases is HC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• 71% of deaths in persons with age &gt;60 years and 65% of deaths in m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• 82% of deaths with at least 1 comorbidity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0639E819-BE48-4D36-A9BA-0A4F6CA642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9035" y="1290860"/>
            <a:ext cx="5635404" cy="230762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D1FA3699-0583-400A-8F16-6E0700664515}"/>
              </a:ext>
            </a:extLst>
          </p:cNvPr>
          <p:cNvSpPr txBox="1"/>
          <p:nvPr/>
        </p:nvSpPr>
        <p:spPr bwMode="gray">
          <a:xfrm>
            <a:off x="5799036" y="3701990"/>
            <a:ext cx="233291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tal confirmed cases 668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C38BC6B8-C65B-48DC-B3D4-1897A6233A5A}"/>
              </a:ext>
            </a:extLst>
          </p:cNvPr>
          <p:cNvSpPr txBox="1"/>
          <p:nvPr/>
        </p:nvSpPr>
        <p:spPr bwMode="gray">
          <a:xfrm>
            <a:off x="8513685" y="3693112"/>
            <a:ext cx="219974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       Total deaths  318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07154A38-42BD-46EB-9A1E-E6A93A4A19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4692" y="4054178"/>
            <a:ext cx="4713307" cy="91255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ECEE9896-AC1D-4757-91E7-7594A1BDD11D}"/>
              </a:ext>
            </a:extLst>
          </p:cNvPr>
          <p:cNvSpPr txBox="1"/>
          <p:nvPr/>
        </p:nvSpPr>
        <p:spPr bwMode="gray">
          <a:xfrm>
            <a:off x="6661372" y="5122416"/>
            <a:ext cx="416050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 from each 8 confirmed cases are HCP 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73CC7606-B758-4FCE-97F0-413A7F392251}"/>
              </a:ext>
            </a:extLst>
          </p:cNvPr>
          <p:cNvSpPr txBox="1"/>
          <p:nvPr/>
        </p:nvSpPr>
        <p:spPr bwMode="gray">
          <a:xfrm>
            <a:off x="7359588" y="5956917"/>
            <a:ext cx="407485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ational Institute of Public Health Romania, 12-16 April 2020,</a:t>
            </a:r>
          </a:p>
        </p:txBody>
      </p:sp>
      <p:pic>
        <p:nvPicPr>
          <p:cNvPr id="23" name="Content Placeholder 8">
            <a:extLst>
              <a:ext uri="{FF2B5EF4-FFF2-40B4-BE49-F238E27FC236}">
                <a16:creationId xmlns="" xmlns:a16="http://schemas.microsoft.com/office/drawing/2014/main" id="{C38DCB58-B0AA-4695-8658-972E96510EF0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4"/>
          <a:stretch>
            <a:fillRect/>
          </a:stretch>
        </p:blipFill>
        <p:spPr>
          <a:xfrm>
            <a:off x="4063191" y="2444670"/>
            <a:ext cx="1576161" cy="1206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52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FRESENIUS MEDICAL CARE" val="VAeGuPjl"/>
  <p:tag name="ARTICULATE_SLIDE_THUMBNAIL_REFRESH" val="1"/>
  <p:tag name="ARTICULATE_SLIDE_COUNT" val="2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apsHTUTCiRqs1fztHd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ltNBL5QCSm3jzxg97v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WHQAjTPOwFeHgLNzg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F3kPnhQ3i1zFuPQtsR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F3kPnhQ3i1zFuPQtsR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SPPCP_SM6TCV.f8hwe1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D_QAnsSNujZ7iSfyyM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JS8YTrSG.Pp4_eWkD2s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imYtD9RemLqSn5fpNq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PB97bXTR6qo7cOaMY7r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B4WUE_Qx6MHLoKaNSF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m2wCVITbKnPpyzmOuKn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kyE.sERAet80WZAtAj4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YavaI9TOWjIuN6niNi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CXRG6kTCWBUUAiF.oo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Eezs6oTCecuAAuMNAr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z2SeoxTiKJ3TAKqWHaJ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F3kPnhQ3i1zFuPQtsR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ayoyNfTsq1cmLTQG4qe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MNqhaIQyajwPVMA7h6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esenius Medical Care">
  <a:themeElements>
    <a:clrScheme name="Benutzerdefiniert 4">
      <a:dk1>
        <a:sysClr val="windowText" lastClr="000000"/>
      </a:dk1>
      <a:lt1>
        <a:sysClr val="window" lastClr="FFFFFF"/>
      </a:lt1>
      <a:dk2>
        <a:srgbClr val="0033A0"/>
      </a:dk2>
      <a:lt2>
        <a:srgbClr val="B2C3E5"/>
      </a:lt2>
      <a:accent1>
        <a:srgbClr val="0033A0"/>
      </a:accent1>
      <a:accent2>
        <a:srgbClr val="6688CB"/>
      </a:accent2>
      <a:accent3>
        <a:srgbClr val="B2C3E5"/>
      </a:accent3>
      <a:accent4>
        <a:srgbClr val="4A5F7D"/>
      </a:accent4>
      <a:accent5>
        <a:srgbClr val="B1B4B9"/>
      </a:accent5>
      <a:accent6>
        <a:srgbClr val="E0E1E3"/>
      </a:accent6>
      <a:hlink>
        <a:srgbClr val="0033A0"/>
      </a:hlink>
      <a:folHlink>
        <a:srgbClr val="4A5F7D"/>
      </a:folHlink>
    </a:clrScheme>
    <a:fontScheme name="Fresenius Medical Car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Mid Blue">
      <a:srgbClr val="0033A0"/>
    </a:custClr>
    <a:custClr name="Light Blue I">
      <a:srgbClr val="6688CB"/>
    </a:custClr>
    <a:custClr name="Light Blue II">
      <a:srgbClr val="B2C3E5"/>
    </a:custClr>
    <a:custClr name="Blue Grey">
      <a:srgbClr val="4A5F7D"/>
    </a:custClr>
    <a:custClr name="Grey I">
      <a:srgbClr val="B1B4B9"/>
    </a:custClr>
    <a:custClr name="Grey II">
      <a:srgbClr val="E0E1E3"/>
    </a:custClr>
    <a:custClr name="Deep Ruby">
      <a:srgbClr val="743850"/>
    </a:custClr>
    <a:custClr name="Vivid Ruby">
      <a:srgbClr val="A14D6F"/>
    </a:custClr>
    <a:custClr name="Black">
      <a:srgbClr val="000000"/>
    </a:custClr>
    <a:custClr name="White">
      <a:srgbClr val="FFFFFF"/>
    </a:custClr>
  </a:custClrLst>
</a:theme>
</file>

<file path=ppt/theme/theme2.xml><?xml version="1.0" encoding="utf-8"?>
<a:theme xmlns:a="http://schemas.openxmlformats.org/drawingml/2006/main" name="Office">
  <a:themeElements>
    <a:clrScheme name="Fresenius Medical Care">
      <a:dk1>
        <a:sysClr val="windowText" lastClr="000000"/>
      </a:dk1>
      <a:lt1>
        <a:sysClr val="window" lastClr="FFFFFF"/>
      </a:lt1>
      <a:dk2>
        <a:srgbClr val="24388D"/>
      </a:dk2>
      <a:lt2>
        <a:srgbClr val="B2C3E5"/>
      </a:lt2>
      <a:accent1>
        <a:srgbClr val="24388D"/>
      </a:accent1>
      <a:accent2>
        <a:srgbClr val="667FA4"/>
      </a:accent2>
      <a:accent3>
        <a:srgbClr val="B2C3E5"/>
      </a:accent3>
      <a:accent4>
        <a:srgbClr val="636A73"/>
      </a:accent4>
      <a:accent5>
        <a:srgbClr val="B1B4B9"/>
      </a:accent5>
      <a:accent6>
        <a:srgbClr val="901F49"/>
      </a:accent6>
      <a:hlink>
        <a:srgbClr val="24388D"/>
      </a:hlink>
      <a:folHlink>
        <a:srgbClr val="667FA4"/>
      </a:folHlink>
    </a:clrScheme>
    <a:fontScheme name="Fresenius Medical Car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Fresenius Medical Care">
      <a:dk1>
        <a:sysClr val="windowText" lastClr="000000"/>
      </a:dk1>
      <a:lt1>
        <a:sysClr val="window" lastClr="FFFFFF"/>
      </a:lt1>
      <a:dk2>
        <a:srgbClr val="24388D"/>
      </a:dk2>
      <a:lt2>
        <a:srgbClr val="B2C3E5"/>
      </a:lt2>
      <a:accent1>
        <a:srgbClr val="24388D"/>
      </a:accent1>
      <a:accent2>
        <a:srgbClr val="667FA4"/>
      </a:accent2>
      <a:accent3>
        <a:srgbClr val="B2C3E5"/>
      </a:accent3>
      <a:accent4>
        <a:srgbClr val="636A73"/>
      </a:accent4>
      <a:accent5>
        <a:srgbClr val="B1B4B9"/>
      </a:accent5>
      <a:accent6>
        <a:srgbClr val="901F49"/>
      </a:accent6>
      <a:hlink>
        <a:srgbClr val="24388D"/>
      </a:hlink>
      <a:folHlink>
        <a:srgbClr val="667FA4"/>
      </a:folHlink>
    </a:clrScheme>
    <a:fontScheme name="Fresenius Medical Car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39</TotalTime>
  <Words>6138</Words>
  <Application>Microsoft Office PowerPoint</Application>
  <PresentationFormat>Произвольный</PresentationFormat>
  <Paragraphs>635</Paragraphs>
  <Slides>41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1</vt:i4>
      </vt:variant>
    </vt:vector>
  </HeadingPairs>
  <TitlesOfParts>
    <vt:vector size="44" baseType="lpstr">
      <vt:lpstr>Fresenius Medical Care</vt:lpstr>
      <vt:lpstr>think-cell Slide</vt:lpstr>
      <vt:lpstr>think-cell Folie</vt:lpstr>
      <vt:lpstr>Организация гемодиализной помощи  в условиях пандемии COVID-19  </vt:lpstr>
      <vt:lpstr>Локальный кризисный центр</vt:lpstr>
      <vt:lpstr>Руководящие документы МЗ РФ по организации работы  условиях пандемии covid 19</vt:lpstr>
      <vt:lpstr>Руководящие документы роспотребнадзора по организации работы  условиях пандемии covid 19</vt:lpstr>
      <vt:lpstr>Руководящие документы МЗ РФ и роспотребнадзора по маршрутизации больных в условиях пандемии covid 19</vt:lpstr>
      <vt:lpstr>Руководящие документы FMC в европе по организации работы  условиях пандемии covid 19</vt:lpstr>
      <vt:lpstr>NC experience exchange call on response to Covid-19 pandemic</vt:lpstr>
      <vt:lpstr>country characterization - Portugal</vt:lpstr>
      <vt:lpstr>Covid-19 COUNTRY DATA ROMANIA </vt:lpstr>
      <vt:lpstr>Инфорация для больных</vt:lpstr>
      <vt:lpstr>Презентация PowerPoint</vt:lpstr>
      <vt:lpstr>Информация для лиц, сопровождающих больных</vt:lpstr>
      <vt:lpstr>Международные Рекомендации по covid-19</vt:lpstr>
      <vt:lpstr>Рекомендации по covid-19</vt:lpstr>
      <vt:lpstr>Рекомендации по covid-19</vt:lpstr>
      <vt:lpstr> </vt:lpstr>
      <vt:lpstr>Защита вспомогательного персонала</vt:lpstr>
      <vt:lpstr>Лечение пациентов на диализе </vt:lpstr>
      <vt:lpstr>Резюме рекомендаций</vt:lpstr>
      <vt:lpstr>Резюме рекомендаций</vt:lpstr>
      <vt:lpstr>Резюме рекомендаций</vt:lpstr>
      <vt:lpstr>Резюме рекомендаций</vt:lpstr>
      <vt:lpstr>Руководящие документы FMC по россии по организации работы  условиях пандемии covid 19</vt:lpstr>
      <vt:lpstr>Руководящие документы FMC по россии по организации работы  условиях пандемии covid 19</vt:lpstr>
      <vt:lpstr>Оперативная готовность к выявлению случаев новой короновирусной инфекции (COVID-19) и организации первичных противоэпидемических мероприятий в ДЦ FMC </vt:lpstr>
      <vt:lpstr>Временные методические рекомендации «Профилактика, диагностика и лечение новой коронавирусной инфекции COVID-19»</vt:lpstr>
      <vt:lpstr>   Стандартное определение случая заболевания COVID-19: Подозрительный на COVID-19 случай   </vt:lpstr>
      <vt:lpstr>Стандартное определение случая заболевания COVID-19: Вероятный случай COVID-19</vt:lpstr>
      <vt:lpstr>Стандартное определение случая заболевания COVID-19: Подтвержденный случай COVID-19 </vt:lpstr>
      <vt:lpstr>Маршрутизация больных в диализных центрах FMC  в россии</vt:lpstr>
      <vt:lpstr> РУКОВОДСТВО О СОБЛЮДЕНИИ МЕР ПРЕДОСТОРОЖНОСТИ ПРИ РАБОТЕ С ИНФИЦИРОВАННЫМИ COVID-19 В КЛИНИКЕ НЕФРОКЕА  </vt:lpstr>
      <vt:lpstr>МЕРЫ ПРЕДОСТОРОЖНОСТИ, КОТОРЫЕ НЕОБХОДИМО ИСПОЛЬЗОВАТЬ ВО ВСЕХ ЦЕНТРАХ FMC EMEA </vt:lpstr>
      <vt:lpstr>МЕРЫ ПРЕДОСТОРОЖНОСТИ, КОТОРЫЕ НЕОБХОДИМО ИСПОЛЬЗОВАТЬ ВО ВСЕХ ЦЕНТРАХ FMC EMEA  </vt:lpstr>
      <vt:lpstr>МЕРЫ ПРЕДОСТОРОЖНОСТИ, КОТОРЫЕ НЕОБХОДИМО ИСПОЛЬЗОВАТЬ ВО ВСЕХ ЦЕНТРАХ FMC EMEA  </vt:lpstr>
      <vt:lpstr>ДРУГИЕ МЕРЫ ПРЕДОСТОРОЖНОСТИ</vt:lpstr>
      <vt:lpstr>Заключительная дезинфекция</vt:lpstr>
      <vt:lpstr>Средства для дезинфекции</vt:lpstr>
      <vt:lpstr>Инструкция по организации диализа пациенту в условиях ДЦ </vt:lpstr>
      <vt:lpstr>Инструкция по организации диализа пациенту в условиях ДЦ </vt:lpstr>
      <vt:lpstr>Средства индивидуальной защиты, используемые медперсоналом при работе с пациентами в карантинном зале</vt:lpstr>
      <vt:lpstr>Состояние дел с covid 19 в клиниках FMC россии (81) на 24.04.20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ffice 1</dc:creator>
  <cp:lastModifiedBy>Gurevich Konstantin</cp:lastModifiedBy>
  <cp:revision>625</cp:revision>
  <dcterms:created xsi:type="dcterms:W3CDTF">2018-12-03T10:40:22Z</dcterms:created>
  <dcterms:modified xsi:type="dcterms:W3CDTF">2020-04-29T08:5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A479EBEB-0574-4CC1-964B-859649BE42D3</vt:lpwstr>
  </property>
  <property fmtid="{D5CDD505-2E9C-101B-9397-08002B2CF9AE}" pid="3" name="ArticulatePath">
    <vt:lpwstr>181205_Master-Template_Thurm_Schroer_Drafts</vt:lpwstr>
  </property>
</Properties>
</file>